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slideLayouts/slideLayout99.xml" ContentType="application/vnd.openxmlformats-officedocument.presentationml.slideLayout+xml"/>
  <Override PartName="/ppt/theme/theme8.xml" ContentType="application/vnd.openxmlformats-officedocument.theme+xml"/>
  <Override PartName="/ppt/tags/tag10.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tags/tag11.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0.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1.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12.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895" r:id="rId3"/>
    <p:sldMasterId id="2147483954" r:id="rId4"/>
    <p:sldMasterId id="2147483758" r:id="rId5"/>
    <p:sldMasterId id="2147483782" r:id="rId6"/>
    <p:sldMasterId id="2147483824" r:id="rId7"/>
    <p:sldMasterId id="2147483894" r:id="rId8"/>
    <p:sldMasterId id="2147483891" r:id="rId9"/>
    <p:sldMasterId id="2147483899" r:id="rId10"/>
    <p:sldMasterId id="2147484188" r:id="rId11"/>
    <p:sldMasterId id="2147484210" r:id="rId12"/>
    <p:sldMasterId id="2147484223" r:id="rId13"/>
  </p:sldMasterIdLst>
  <p:notesMasterIdLst>
    <p:notesMasterId r:id="rId28"/>
  </p:notesMasterIdLst>
  <p:handoutMasterIdLst>
    <p:handoutMasterId r:id="rId29"/>
  </p:handoutMasterIdLst>
  <p:sldIdLst>
    <p:sldId id="384" r:id="rId14"/>
    <p:sldId id="578" r:id="rId15"/>
    <p:sldId id="2145704381" r:id="rId16"/>
    <p:sldId id="2145704382" r:id="rId17"/>
    <p:sldId id="2145704404" r:id="rId18"/>
    <p:sldId id="2145704402" r:id="rId19"/>
    <p:sldId id="2145704403" r:id="rId20"/>
    <p:sldId id="2145704405" r:id="rId21"/>
    <p:sldId id="2145704399" r:id="rId22"/>
    <p:sldId id="2145704400" r:id="rId23"/>
    <p:sldId id="2145704401" r:id="rId24"/>
    <p:sldId id="2145704407" r:id="rId25"/>
    <p:sldId id="2145704398" r:id="rId26"/>
    <p:sldId id="2145704406" r:id="rId27"/>
  </p:sldIdLst>
  <p:sldSz cx="13442950" cy="7561263"/>
  <p:notesSz cx="6858000" cy="9144000"/>
  <p:custDataLst>
    <p:tags r:id="rId30"/>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917641"/>
    <a:srgbClr val="EDFF00"/>
    <a:srgbClr val="FB3449"/>
    <a:srgbClr val="B6008D"/>
    <a:srgbClr val="5A5A5A"/>
    <a:srgbClr val="C7C9C7"/>
    <a:srgbClr val="CAC8C8"/>
    <a:srgbClr val="000000"/>
    <a:srgbClr val="8547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734" autoAdjust="0"/>
    <p:restoredTop sz="70872" autoAdjust="0"/>
  </p:normalViewPr>
  <p:slideViewPr>
    <p:cSldViewPr snapToGrid="0">
      <p:cViewPr varScale="1">
        <p:scale>
          <a:sx n="69" d="100"/>
          <a:sy n="69" d="100"/>
        </p:scale>
        <p:origin x="352" y="20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499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2.xml"/><Relationship Id="rId18" Type="http://schemas.openxmlformats.org/officeDocument/2006/relationships/slide" Target="slides/slide5.xml"/><Relationship Id="rId26" Type="http://schemas.openxmlformats.org/officeDocument/2006/relationships/slide" Target="slides/slide13.xml"/><Relationship Id="rId3" Type="http://schemas.openxmlformats.org/officeDocument/2006/relationships/slideMaster" Target="slideMasters/slideMaster2.xml"/><Relationship Id="rId21" Type="http://schemas.openxmlformats.org/officeDocument/2006/relationships/slide" Target="slides/slide8.xml"/><Relationship Id="rId34" Type="http://schemas.openxmlformats.org/officeDocument/2006/relationships/theme" Target="theme/theme1.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viewProps" Target="viewProps.xml"/><Relationship Id="rId2" Type="http://schemas.openxmlformats.org/officeDocument/2006/relationships/slideMaster" Target="slideMasters/slideMaster1.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 Target="slides/slide11.xml"/><Relationship Id="rId32" Type="http://schemas.openxmlformats.org/officeDocument/2006/relationships/presProps" Target="presProps.xml"/><Relationship Id="rId5" Type="http://schemas.openxmlformats.org/officeDocument/2006/relationships/slideMaster" Target="slideMasters/slideMaster4.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notesMaster" Target="notesMasters/notesMaster1.xml"/><Relationship Id="rId10" Type="http://schemas.openxmlformats.org/officeDocument/2006/relationships/slideMaster" Target="slideMasters/slideMaster9.xml"/><Relationship Id="rId19" Type="http://schemas.openxmlformats.org/officeDocument/2006/relationships/slide" Target="slides/slide6.xml"/><Relationship Id="rId31" Type="http://schemas.openxmlformats.org/officeDocument/2006/relationships/commentAuthors" Target="commentAuthors.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Master" Target="slideMasters/slideMaster7.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ABC1 Profile</c:v>
                </c:pt>
              </c:strCache>
            </c:strRef>
          </c:tx>
          <c:spPr>
            <a:solidFill>
              <a:srgbClr val="FB3449"/>
            </a:solidFill>
            <a:ln>
              <a:noFill/>
            </a:ln>
            <a:effectLst/>
          </c:spPr>
          <c:invertIfNegative val="0"/>
          <c:dLbls>
            <c:dLbl>
              <c:idx val="1"/>
              <c:layout>
                <c:manualLayout>
                  <c:x val="2.7263934312379999E-3"/>
                  <c:y val="1.185395922238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BC2-A243-9858-85F2EC6261C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FFFF"/>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Killers of The Flower Moon</c:v>
                </c:pt>
                <c:pt idx="1">
                  <c:v>May December</c:v>
                </c:pt>
                <c:pt idx="2">
                  <c:v>The Anatomy of A Fall</c:v>
                </c:pt>
                <c:pt idx="3">
                  <c:v>Saltburn</c:v>
                </c:pt>
                <c:pt idx="4">
                  <c:v>Napoleon</c:v>
                </c:pt>
                <c:pt idx="5">
                  <c:v>The Bikeriders</c:v>
                </c:pt>
                <c:pt idx="6">
                  <c:v>Ferrari</c:v>
                </c:pt>
                <c:pt idx="7">
                  <c:v>One Life</c:v>
                </c:pt>
                <c:pt idx="8">
                  <c:v>The Colour Purple</c:v>
                </c:pt>
                <c:pt idx="9">
                  <c:v>Bob Marley: One Love</c:v>
                </c:pt>
                <c:pt idx="10">
                  <c:v>Poor Things</c:v>
                </c:pt>
                <c:pt idx="11">
                  <c:v>The Book of Clarence</c:v>
                </c:pt>
                <c:pt idx="12">
                  <c:v>The Holdovers</c:v>
                </c:pt>
              </c:strCache>
            </c:strRef>
          </c:cat>
          <c:val>
            <c:numRef>
              <c:f>Sheet1!$B$2:$B$14</c:f>
              <c:numCache>
                <c:formatCode>0%</c:formatCode>
                <c:ptCount val="13"/>
                <c:pt idx="0">
                  <c:v>0.77</c:v>
                </c:pt>
                <c:pt idx="1">
                  <c:v>0.79</c:v>
                </c:pt>
                <c:pt idx="2">
                  <c:v>0.77</c:v>
                </c:pt>
                <c:pt idx="3">
                  <c:v>0.74</c:v>
                </c:pt>
                <c:pt idx="4">
                  <c:v>0.77</c:v>
                </c:pt>
                <c:pt idx="5">
                  <c:v>0.7</c:v>
                </c:pt>
                <c:pt idx="6">
                  <c:v>0.77</c:v>
                </c:pt>
                <c:pt idx="7">
                  <c:v>0.64</c:v>
                </c:pt>
                <c:pt idx="8">
                  <c:v>0.67</c:v>
                </c:pt>
                <c:pt idx="9">
                  <c:v>0.72</c:v>
                </c:pt>
                <c:pt idx="10">
                  <c:v>0.77</c:v>
                </c:pt>
                <c:pt idx="11">
                  <c:v>0.77</c:v>
                </c:pt>
                <c:pt idx="12">
                  <c:v>0.82</c:v>
                </c:pt>
              </c:numCache>
            </c:numRef>
          </c:val>
          <c:extLst>
            <c:ext xmlns:c16="http://schemas.microsoft.com/office/drawing/2014/chart" uri="{C3380CC4-5D6E-409C-BE32-E72D297353CC}">
              <c16:uniqueId val="{00000001-DBC2-A243-9858-85F2EC6261C4}"/>
            </c:ext>
          </c:extLst>
        </c:ser>
        <c:dLbls>
          <c:showLegendKey val="0"/>
          <c:showVal val="0"/>
          <c:showCatName val="0"/>
          <c:showSerName val="0"/>
          <c:showPercent val="0"/>
          <c:showBubbleSize val="0"/>
        </c:dLbls>
        <c:gapWidth val="168"/>
        <c:overlap val="-29"/>
        <c:axId val="1067717584"/>
        <c:axId val="1067719360"/>
      </c:barChart>
      <c:catAx>
        <c:axId val="1067717584"/>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1" i="0" u="none" strike="noStrike" kern="1200" baseline="0">
                <a:solidFill>
                  <a:srgbClr val="FFFFFF"/>
                </a:solidFill>
                <a:latin typeface="Arial" charset="0"/>
                <a:ea typeface="Arial" charset="0"/>
                <a:cs typeface="Arial" charset="0"/>
              </a:defRPr>
            </a:pPr>
            <a:endParaRPr lang="en-US"/>
          </a:p>
        </c:txPr>
        <c:crossAx val="1067719360"/>
        <c:crosses val="autoZero"/>
        <c:auto val="1"/>
        <c:lblAlgn val="ctr"/>
        <c:lblOffset val="100"/>
        <c:noMultiLvlLbl val="0"/>
      </c:catAx>
      <c:valAx>
        <c:axId val="1067719360"/>
        <c:scaling>
          <c:orientation val="minMax"/>
          <c:min val="0"/>
        </c:scaling>
        <c:delete val="1"/>
        <c:axPos val="l"/>
        <c:numFmt formatCode="0%" sourceLinked="1"/>
        <c:majorTickMark val="out"/>
        <c:minorTickMark val="none"/>
        <c:tickLblPos val="nextTo"/>
        <c:crossAx val="10677175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741D12-1BA0-4D16-B253-39E4DA7AD69F}" type="datetimeFigureOut">
              <a:rPr lang="en-US" smtClean="0"/>
              <a:pPr/>
              <a:t>8/25/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8/25/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US" dirty="0"/>
              <a:t>GOLD SPOT – Anatomy of a Fall, </a:t>
            </a:r>
            <a:r>
              <a:rPr lang="en-US" dirty="0" err="1"/>
              <a:t>Saltburn</a:t>
            </a:r>
            <a:r>
              <a:rPr lang="en-US" dirty="0"/>
              <a:t>, The </a:t>
            </a:r>
            <a:r>
              <a:rPr lang="en-US" dirty="0" err="1"/>
              <a:t>Bikeriders</a:t>
            </a:r>
            <a:r>
              <a:rPr lang="en-US" dirty="0"/>
              <a:t>, Ferrari, One Life, Bob Marley: One Love, Poor Things, The Book of Clarence, Holdovers, The </a:t>
            </a:r>
            <a:r>
              <a:rPr lang="en-US" dirty="0" err="1"/>
              <a:t>Colour</a:t>
            </a:r>
            <a:r>
              <a:rPr lang="en-US" dirty="0"/>
              <a:t> Purple, May December</a:t>
            </a:r>
          </a:p>
          <a:p>
            <a:pPr marL="0" marR="0" lvl="0" indent="0" algn="l" defTabSz="961844" rtl="0" eaLnBrk="1" fontAlgn="auto" latinLnBrk="0" hangingPunct="1">
              <a:lnSpc>
                <a:spcPct val="100000"/>
              </a:lnSpc>
              <a:spcBef>
                <a:spcPts val="0"/>
              </a:spcBef>
              <a:spcAft>
                <a:spcPts val="0"/>
              </a:spcAft>
              <a:buClrTx/>
              <a:buSzTx/>
              <a:buFontTx/>
              <a:buNone/>
              <a:tabLst/>
              <a:defRPr/>
            </a:pPr>
            <a:r>
              <a:rPr lang="en-US" dirty="0"/>
              <a:t>SILVER SPOT – Napoleon</a:t>
            </a:r>
          </a:p>
          <a:p>
            <a:r>
              <a:rPr lang="en-US" dirty="0"/>
              <a:t>FILM PACKS - Killers of the Flower Moon</a:t>
            </a:r>
          </a:p>
        </p:txBody>
      </p:sp>
      <p:sp>
        <p:nvSpPr>
          <p:cNvPr id="4" name="Slide Number Placeholder 3"/>
          <p:cNvSpPr>
            <a:spLocks noGrp="1"/>
          </p:cNvSpPr>
          <p:nvPr>
            <p:ph type="sldNum" sz="quarter" idx="5"/>
          </p:nvPr>
        </p:nvSpPr>
        <p:spPr/>
        <p:txBody>
          <a:bodyPr/>
          <a:lstStyle/>
          <a:p>
            <a:fld id="{9C936D52-512B-47DE-BC94-6C88A56CE986}" type="slidenum">
              <a:rPr lang="en-US" smtClean="0"/>
              <a:pPr/>
              <a:t>12</a:t>
            </a:fld>
            <a:endParaRPr lang="en-US"/>
          </a:p>
        </p:txBody>
      </p:sp>
    </p:spTree>
    <p:extLst>
      <p:ext uri="{BB962C8B-B14F-4D97-AF65-F5344CB8AC3E}">
        <p14:creationId xmlns:p14="http://schemas.microsoft.com/office/powerpoint/2010/main" val="7777827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US" dirty="0"/>
              <a:t>SILVER SPOT – Napoleon, Anatomy of a Fall, </a:t>
            </a:r>
            <a:r>
              <a:rPr lang="en-US" dirty="0" err="1"/>
              <a:t>Saltburn</a:t>
            </a:r>
            <a:r>
              <a:rPr lang="en-US" dirty="0"/>
              <a:t>, The </a:t>
            </a:r>
            <a:r>
              <a:rPr lang="en-US" dirty="0" err="1"/>
              <a:t>Bikeriders</a:t>
            </a:r>
            <a:r>
              <a:rPr lang="en-US" dirty="0"/>
              <a:t>, Ferrari, One Life, Bob Marley: One Love, Poor Things, The Book of Clarence, Holdovers, The </a:t>
            </a:r>
            <a:r>
              <a:rPr lang="en-US" dirty="0" err="1"/>
              <a:t>Colour</a:t>
            </a:r>
            <a:r>
              <a:rPr lang="en-US" dirty="0"/>
              <a:t> Purple, May December</a:t>
            </a:r>
          </a:p>
          <a:p>
            <a:r>
              <a:rPr lang="en-US" dirty="0"/>
              <a:t>FILM PACKS - Killers of the Flower Moon</a:t>
            </a:r>
          </a:p>
        </p:txBody>
      </p:sp>
      <p:sp>
        <p:nvSpPr>
          <p:cNvPr id="4" name="Slide Number Placeholder 3"/>
          <p:cNvSpPr>
            <a:spLocks noGrp="1"/>
          </p:cNvSpPr>
          <p:nvPr>
            <p:ph type="sldNum" sz="quarter" idx="5"/>
          </p:nvPr>
        </p:nvSpPr>
        <p:spPr/>
        <p:txBody>
          <a:bodyPr/>
          <a:lstStyle/>
          <a:p>
            <a:fld id="{9C936D52-512B-47DE-BC94-6C88A56CE986}" type="slidenum">
              <a:rPr lang="en-US" smtClean="0"/>
              <a:pPr/>
              <a:t>13</a:t>
            </a:fld>
            <a:endParaRPr lang="en-US"/>
          </a:p>
        </p:txBody>
      </p:sp>
    </p:spTree>
    <p:extLst>
      <p:ext uri="{BB962C8B-B14F-4D97-AF65-F5344CB8AC3E}">
        <p14:creationId xmlns:p14="http://schemas.microsoft.com/office/powerpoint/2010/main" val="28817223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0.xml"/><Relationship Id="rId1" Type="http://schemas.openxmlformats.org/officeDocument/2006/relationships/tags" Target="../tags/tag13.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0.xml"/><Relationship Id="rId1" Type="http://schemas.openxmlformats.org/officeDocument/2006/relationships/tags" Target="../tags/tag14.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0.xml"/><Relationship Id="rId1" Type="http://schemas.openxmlformats.org/officeDocument/2006/relationships/tags" Target="../tags/tag15.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0.xml"/><Relationship Id="rId1" Type="http://schemas.openxmlformats.org/officeDocument/2006/relationships/tags" Target="../tags/tag16.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0.xml"/><Relationship Id="rId1" Type="http://schemas.openxmlformats.org/officeDocument/2006/relationships/tags" Target="../tags/tag17.xml"/><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0.xml"/><Relationship Id="rId1" Type="http://schemas.openxmlformats.org/officeDocument/2006/relationships/tags" Target="../tags/tag18.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0.xml"/><Relationship Id="rId1" Type="http://schemas.openxmlformats.org/officeDocument/2006/relationships/tags" Target="../tags/tag19.xml"/><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0.xml"/><Relationship Id="rId1" Type="http://schemas.openxmlformats.org/officeDocument/2006/relationships/tags" Target="../tags/tag20.xml"/><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0.xml"/><Relationship Id="rId1" Type="http://schemas.openxmlformats.org/officeDocument/2006/relationships/tags" Target="../tags/tag21.xml"/><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0.xml"/><Relationship Id="rId1" Type="http://schemas.openxmlformats.org/officeDocument/2006/relationships/tags" Target="../tags/tag22.xml"/><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0.xml"/><Relationship Id="rId1" Type="http://schemas.openxmlformats.org/officeDocument/2006/relationships/tags" Target="../tags/tag23.xml"/><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0.xml"/><Relationship Id="rId1" Type="http://schemas.openxmlformats.org/officeDocument/2006/relationships/tags" Target="../tags/tag24.xml"/><Relationship Id="rId4" Type="http://schemas.openxmlformats.org/officeDocument/2006/relationships/image" Target="../media/image1.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0.xml"/><Relationship Id="rId1" Type="http://schemas.openxmlformats.org/officeDocument/2006/relationships/tags" Target="../tags/tag25.xml"/><Relationship Id="rId4" Type="http://schemas.openxmlformats.org/officeDocument/2006/relationships/image" Target="../media/image1.emf"/></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1.xml"/><Relationship Id="rId1" Type="http://schemas.openxmlformats.org/officeDocument/2006/relationships/tags" Target="../tags/tag27.xml"/><Relationship Id="rId5" Type="http://schemas.openxmlformats.org/officeDocument/2006/relationships/image" Target="../media/image6.emf"/><Relationship Id="rId4"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1.xml"/><Relationship Id="rId1" Type="http://schemas.openxmlformats.org/officeDocument/2006/relationships/tags" Target="../tags/tag28.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1.xml"/><Relationship Id="rId1" Type="http://schemas.openxmlformats.org/officeDocument/2006/relationships/tags" Target="../tags/tag29.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1.xml"/><Relationship Id="rId1" Type="http://schemas.openxmlformats.org/officeDocument/2006/relationships/tags" Target="../tags/tag30.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1.xml"/><Relationship Id="rId1" Type="http://schemas.openxmlformats.org/officeDocument/2006/relationships/tags" Target="../tags/tag31.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1.xml"/><Relationship Id="rId1" Type="http://schemas.openxmlformats.org/officeDocument/2006/relationships/tags" Target="../tags/tag32.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1.xml"/><Relationship Id="rId1" Type="http://schemas.openxmlformats.org/officeDocument/2006/relationships/tags" Target="../tags/tag33.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1.xml"/><Relationship Id="rId1" Type="http://schemas.openxmlformats.org/officeDocument/2006/relationships/tags" Target="../tags/tag34.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1.xml"/><Relationship Id="rId1" Type="http://schemas.openxmlformats.org/officeDocument/2006/relationships/tags" Target="../tags/tag35.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2.xml"/><Relationship Id="rId1" Type="http://schemas.openxmlformats.org/officeDocument/2006/relationships/tags" Target="../tags/tag37.xml"/><Relationship Id="rId6" Type="http://schemas.openxmlformats.org/officeDocument/2006/relationships/image" Target="../media/image2.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Tree>
    <p:extLst>
      <p:ext uri="{BB962C8B-B14F-4D97-AF65-F5344CB8AC3E}">
        <p14:creationId xmlns:p14="http://schemas.microsoft.com/office/powerpoint/2010/main" val="173177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779094"/>
            <a:ext cx="8651633" cy="5407270"/>
          </a:xfrm>
          <a:prstGeom prst="rect">
            <a:avLst/>
          </a:prstGeom>
        </p:spPr>
      </p:pic>
      <p:sp>
        <p:nvSpPr>
          <p:cNvPr id="7" name="Text Placeholder 6"/>
          <p:cNvSpPr>
            <a:spLocks noGrp="1"/>
          </p:cNvSpPr>
          <p:nvPr>
            <p:ph type="body" sz="quarter" idx="10" hasCustomPrompt="1"/>
          </p:nvPr>
        </p:nvSpPr>
        <p:spPr>
          <a:xfrm>
            <a:off x="9011633" y="220511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6" name="Text Placeholder 21"/>
          <p:cNvSpPr>
            <a:spLocks noGrp="1"/>
          </p:cNvSpPr>
          <p:nvPr>
            <p:ph type="body" sz="quarter" idx="13" hasCustomPrompt="1"/>
          </p:nvPr>
        </p:nvSpPr>
        <p:spPr>
          <a:xfrm>
            <a:off x="9011634" y="3105113"/>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8" name="Picture Placeholder 17"/>
          <p:cNvSpPr>
            <a:spLocks noGrp="1"/>
          </p:cNvSpPr>
          <p:nvPr>
            <p:ph type="pic" sz="quarter" idx="14"/>
          </p:nvPr>
        </p:nvSpPr>
        <p:spPr>
          <a:xfrm>
            <a:off x="0" y="779094"/>
            <a:ext cx="8651633"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417815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 Icons – Audience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91" name="Straight Connector 90"/>
          <p:cNvCxnSpPr/>
          <p:nvPr userDrawn="1"/>
        </p:nvCxnSpPr>
        <p:spPr>
          <a:xfrm>
            <a:off x="0" y="714271"/>
            <a:ext cx="299465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3" name="Picture 9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4" name="TextBox 93"/>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AUDIENC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Icons – Tech">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cxnSp>
        <p:nvCxnSpPr>
          <p:cNvPr id="114" name="Straight Connector 113"/>
          <p:cNvCxnSpPr/>
          <p:nvPr userDrawn="1"/>
        </p:nvCxnSpPr>
        <p:spPr>
          <a:xfrm>
            <a:off x="0" y="714271"/>
            <a:ext cx="951647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5" name="Picture 1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16" name="TextBox 115"/>
          <p:cNvSpPr txBox="1"/>
          <p:nvPr userDrawn="1"/>
        </p:nvSpPr>
        <p:spPr>
          <a:xfrm>
            <a:off x="233363" y="173389"/>
            <a:ext cx="11866193"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TECHNOLOGY, SOCIAL MEDIA, PRE/POST SCREEN ACTIVITI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Icons – Brand ">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cxnSp>
        <p:nvCxnSpPr>
          <p:cNvPr id="69" name="Straight Connector 68"/>
          <p:cNvCxnSpPr/>
          <p:nvPr userDrawn="1"/>
        </p:nvCxnSpPr>
        <p:spPr>
          <a:xfrm>
            <a:off x="0" y="714271"/>
            <a:ext cx="9097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73" name="Picture 7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74" name="TextBox 73"/>
          <p:cNvSpPr txBox="1"/>
          <p:nvPr userDrawn="1"/>
        </p:nvSpPr>
        <p:spPr>
          <a:xfrm>
            <a:off x="233363" y="173389"/>
            <a:ext cx="8902852"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BRAND SECTORS, FOOD &amp; DRINK, FILM GENRES, SEASON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 Icons - Misc">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7765889" y="5071267"/>
            <a:ext cx="86065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2" name="TextBox 20"/>
          <p:cNvSpPr txBox="1">
            <a:spLocks noChangeArrowheads="1"/>
          </p:cNvSpPr>
          <p:nvPr userDrawn="1"/>
        </p:nvSpPr>
        <p:spPr bwMode="auto">
          <a:xfrm>
            <a:off x="10662582" y="3626159"/>
            <a:ext cx="98685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13" name="TextBox 21"/>
          <p:cNvSpPr txBox="1">
            <a:spLocks noChangeArrowheads="1"/>
          </p:cNvSpPr>
          <p:nvPr userDrawn="1"/>
        </p:nvSpPr>
        <p:spPr bwMode="auto">
          <a:xfrm>
            <a:off x="12107143" y="3626159"/>
            <a:ext cx="103286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Alcohol AGP</a:t>
            </a:r>
          </a:p>
        </p:txBody>
      </p:sp>
      <p:sp>
        <p:nvSpPr>
          <p:cNvPr id="14" name="TextBox 22"/>
          <p:cNvSpPr txBox="1">
            <a:spLocks noChangeArrowheads="1"/>
          </p:cNvSpPr>
          <p:nvPr userDrawn="1"/>
        </p:nvSpPr>
        <p:spPr bwMode="auto">
          <a:xfrm>
            <a:off x="315711" y="5069380"/>
            <a:ext cx="986875"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ultural AGP</a:t>
            </a:r>
          </a:p>
        </p:txBody>
      </p:sp>
      <p:sp>
        <p:nvSpPr>
          <p:cNvPr id="15" name="TextBox 23"/>
          <p:cNvSpPr txBox="1">
            <a:spLocks noChangeArrowheads="1"/>
          </p:cNvSpPr>
          <p:nvPr userDrawn="1"/>
        </p:nvSpPr>
        <p:spPr bwMode="auto">
          <a:xfrm>
            <a:off x="1766476" y="5072046"/>
            <a:ext cx="1033425"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Youth AGP</a:t>
            </a:r>
          </a:p>
        </p:txBody>
      </p:sp>
      <p:sp>
        <p:nvSpPr>
          <p:cNvPr id="16" name="TextBox 24"/>
          <p:cNvSpPr txBox="1">
            <a:spLocks noChangeArrowheads="1"/>
          </p:cNvSpPr>
          <p:nvPr userDrawn="1"/>
        </p:nvSpPr>
        <p:spPr bwMode="auto">
          <a:xfrm>
            <a:off x="3236161" y="5069379"/>
            <a:ext cx="1053481"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emale AGP</a:t>
            </a:r>
          </a:p>
        </p:txBody>
      </p:sp>
      <p:sp>
        <p:nvSpPr>
          <p:cNvPr id="17" name="TextBox 25"/>
          <p:cNvSpPr txBox="1">
            <a:spLocks noChangeArrowheads="1"/>
          </p:cNvSpPr>
          <p:nvPr userDrawn="1"/>
        </p:nvSpPr>
        <p:spPr bwMode="auto">
          <a:xfrm>
            <a:off x="4691765" y="5071952"/>
            <a:ext cx="10728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  AGP</a:t>
            </a:r>
          </a:p>
        </p:txBody>
      </p:sp>
      <p:sp>
        <p:nvSpPr>
          <p:cNvPr id="18" name="TextBox 26"/>
          <p:cNvSpPr txBox="1">
            <a:spLocks noChangeArrowheads="1"/>
          </p:cNvSpPr>
          <p:nvPr userDrawn="1"/>
        </p:nvSpPr>
        <p:spPr bwMode="auto">
          <a:xfrm>
            <a:off x="6221498" y="5073167"/>
            <a:ext cx="99099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7654812" y="3991655"/>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Freeform 43"/>
          <p:cNvSpPr>
            <a:spLocks/>
          </p:cNvSpPr>
          <p:nvPr userDrawn="1"/>
        </p:nvSpPr>
        <p:spPr bwMode="auto">
          <a:xfrm>
            <a:off x="10609418" y="2530624"/>
            <a:ext cx="1080000" cy="10800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4" name="Freeform 20"/>
          <p:cNvSpPr>
            <a:spLocks/>
          </p:cNvSpPr>
          <p:nvPr userDrawn="1"/>
        </p:nvSpPr>
        <p:spPr bwMode="auto">
          <a:xfrm>
            <a:off x="12086719" y="2530624"/>
            <a:ext cx="1080000" cy="10800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Freeform 51"/>
          <p:cNvSpPr>
            <a:spLocks/>
          </p:cNvSpPr>
          <p:nvPr userDrawn="1"/>
        </p:nvSpPr>
        <p:spPr bwMode="auto">
          <a:xfrm>
            <a:off x="268297" y="3970395"/>
            <a:ext cx="1080000" cy="1080000"/>
          </a:xfrm>
          <a:custGeom>
            <a:avLst/>
            <a:gdLst>
              <a:gd name="T0" fmla="*/ 304829 w 1085850"/>
              <a:gd name="T1" fmla="*/ 608013 h 1087437"/>
              <a:gd name="T2" fmla="*/ 282994 w 1085850"/>
              <a:gd name="T3" fmla="*/ 635000 h 1087437"/>
              <a:gd name="T4" fmla="*/ 262718 w 1085850"/>
              <a:gd name="T5" fmla="*/ 608013 h 1087437"/>
              <a:gd name="T6" fmla="*/ 365587 w 1085850"/>
              <a:gd name="T7" fmla="*/ 568325 h 1087437"/>
              <a:gd name="T8" fmla="*/ 381751 w 1085850"/>
              <a:gd name="T9" fmla="*/ 599281 h 1087437"/>
              <a:gd name="T10" fmla="*/ 349423 w 1085850"/>
              <a:gd name="T11" fmla="*/ 608806 h 1087437"/>
              <a:gd name="T12" fmla="*/ 345383 w 1085850"/>
              <a:gd name="T13" fmla="*/ 574675 h 1087437"/>
              <a:gd name="T14" fmla="*/ 219075 w 1085850"/>
              <a:gd name="T15" fmla="*/ 574675 h 1087437"/>
              <a:gd name="T16" fmla="*/ 215900 w 1085850"/>
              <a:gd name="T17" fmla="*/ 608806 h 1087437"/>
              <a:gd name="T18" fmla="*/ 182563 w 1085850"/>
              <a:gd name="T19" fmla="*/ 599281 h 1087437"/>
              <a:gd name="T20" fmla="*/ 198438 w 1085850"/>
              <a:gd name="T21" fmla="*/ 568325 h 1087437"/>
              <a:gd name="T22" fmla="*/ 225425 w 1085850"/>
              <a:gd name="T23" fmla="*/ 501159 h 1087437"/>
              <a:gd name="T24" fmla="*/ 203200 w 1085850"/>
              <a:gd name="T25" fmla="*/ 528637 h 1087437"/>
              <a:gd name="T26" fmla="*/ 180975 w 1085850"/>
              <a:gd name="T27" fmla="*/ 501159 h 1087437"/>
              <a:gd name="T28" fmla="*/ 592138 w 1085850"/>
              <a:gd name="T29" fmla="*/ 569912 h 1087437"/>
              <a:gd name="T30" fmla="*/ 913513 w 1085850"/>
              <a:gd name="T31" fmla="*/ 488156 h 1087437"/>
              <a:gd name="T32" fmla="*/ 901405 w 1085850"/>
              <a:gd name="T33" fmla="*/ 534988 h 1087437"/>
              <a:gd name="T34" fmla="*/ 894157 w 1085850"/>
              <a:gd name="T35" fmla="*/ 565944 h 1087437"/>
              <a:gd name="T36" fmla="*/ 959640 w 1085850"/>
              <a:gd name="T37" fmla="*/ 496094 h 1087437"/>
              <a:gd name="T38" fmla="*/ 828675 w 1085850"/>
              <a:gd name="T39" fmla="*/ 447675 h 1087437"/>
              <a:gd name="T40" fmla="*/ 545830 w 1085850"/>
              <a:gd name="T41" fmla="*/ 447675 h 1087437"/>
              <a:gd name="T42" fmla="*/ 307195 w 1085850"/>
              <a:gd name="T43" fmla="*/ 465138 h 1087437"/>
              <a:gd name="T44" fmla="*/ 285360 w 1085850"/>
              <a:gd name="T45" fmla="*/ 492125 h 1087437"/>
              <a:gd name="T46" fmla="*/ 265085 w 1085850"/>
              <a:gd name="T47" fmla="*/ 465138 h 1087437"/>
              <a:gd name="T48" fmla="*/ 708026 w 1085850"/>
              <a:gd name="T49" fmla="*/ 447675 h 1087437"/>
              <a:gd name="T50" fmla="*/ 667544 w 1085850"/>
              <a:gd name="T51" fmla="*/ 500063 h 1087437"/>
              <a:gd name="T52" fmla="*/ 685007 w 1085850"/>
              <a:gd name="T53" fmla="*/ 633413 h 1087437"/>
              <a:gd name="T54" fmla="*/ 757238 w 1085850"/>
              <a:gd name="T55" fmla="*/ 640556 h 1087437"/>
              <a:gd name="T56" fmla="*/ 760413 w 1085850"/>
              <a:gd name="T57" fmla="*/ 567531 h 1087437"/>
              <a:gd name="T58" fmla="*/ 735013 w 1085850"/>
              <a:gd name="T59" fmla="*/ 619919 h 1087437"/>
              <a:gd name="T60" fmla="*/ 706438 w 1085850"/>
              <a:gd name="T61" fmla="*/ 524669 h 1087437"/>
              <a:gd name="T62" fmla="*/ 746126 w 1085850"/>
              <a:gd name="T63" fmla="*/ 477044 h 1087437"/>
              <a:gd name="T64" fmla="*/ 790576 w 1085850"/>
              <a:gd name="T65" fmla="*/ 469106 h 1087437"/>
              <a:gd name="T66" fmla="*/ 289314 w 1085850"/>
              <a:gd name="T67" fmla="*/ 414333 h 1087437"/>
              <a:gd name="T68" fmla="*/ 140437 w 1085850"/>
              <a:gd name="T69" fmla="*/ 477633 h 1087437"/>
              <a:gd name="T70" fmla="*/ 115888 w 1085850"/>
              <a:gd name="T71" fmla="*/ 562298 h 1087437"/>
              <a:gd name="T72" fmla="*/ 176073 w 1085850"/>
              <a:gd name="T73" fmla="*/ 637468 h 1087437"/>
              <a:gd name="T74" fmla="*/ 355042 w 1085850"/>
              <a:gd name="T75" fmla="*/ 658041 h 1087437"/>
              <a:gd name="T76" fmla="*/ 449278 w 1085850"/>
              <a:gd name="T77" fmla="*/ 590784 h 1087437"/>
              <a:gd name="T78" fmla="*/ 439775 w 1085850"/>
              <a:gd name="T79" fmla="*/ 535395 h 1087437"/>
              <a:gd name="T80" fmla="*/ 357418 w 1085850"/>
              <a:gd name="T81" fmla="*/ 493459 h 1087437"/>
              <a:gd name="T82" fmla="*/ 399388 w 1085850"/>
              <a:gd name="T83" fmla="*/ 457061 h 1087437"/>
              <a:gd name="T84" fmla="*/ 388302 w 1085850"/>
              <a:gd name="T85" fmla="*/ 421454 h 1087437"/>
              <a:gd name="T86" fmla="*/ 598488 w 1085850"/>
              <a:gd name="T87" fmla="*/ 2381 h 1087437"/>
              <a:gd name="T88" fmla="*/ 823913 w 1085850"/>
              <a:gd name="T89" fmla="*/ 78581 h 1087437"/>
              <a:gd name="T90" fmla="*/ 993775 w 1085850"/>
              <a:gd name="T91" fmla="*/ 239713 h 1087437"/>
              <a:gd name="T92" fmla="*/ 1079500 w 1085850"/>
              <a:gd name="T93" fmla="*/ 461169 h 1087437"/>
              <a:gd name="T94" fmla="*/ 1061244 w 1085850"/>
              <a:gd name="T95" fmla="*/ 704850 h 1087437"/>
              <a:gd name="T96" fmla="*/ 944563 w 1085850"/>
              <a:gd name="T97" fmla="*/ 908843 h 1087437"/>
              <a:gd name="T98" fmla="*/ 754063 w 1085850"/>
              <a:gd name="T99" fmla="*/ 1044575 h 1087437"/>
              <a:gd name="T100" fmla="*/ 514350 w 1085850"/>
              <a:gd name="T101" fmla="*/ 1085850 h 1087437"/>
              <a:gd name="T102" fmla="*/ 283369 w 1085850"/>
              <a:gd name="T103" fmla="*/ 1022350 h 1087437"/>
              <a:gd name="T104" fmla="*/ 107950 w 1085850"/>
              <a:gd name="T105" fmla="*/ 868362 h 1087437"/>
              <a:gd name="T106" fmla="*/ 11113 w 1085850"/>
              <a:gd name="T107" fmla="*/ 653256 h 1087437"/>
              <a:gd name="T108" fmla="*/ 17463 w 1085850"/>
              <a:gd name="T109" fmla="*/ 407194 h 1087437"/>
              <a:gd name="T110" fmla="*/ 123825 w 1085850"/>
              <a:gd name="T111" fmla="*/ 198438 h 1087437"/>
              <a:gd name="T112" fmla="*/ 307975 w 1085850"/>
              <a:gd name="T113" fmla="*/ 53975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5850" h="1087437">
                <a:moveTo>
                  <a:pt x="279874" y="590550"/>
                </a:moveTo>
                <a:lnTo>
                  <a:pt x="282994" y="590550"/>
                </a:lnTo>
                <a:lnTo>
                  <a:pt x="288452" y="590550"/>
                </a:lnTo>
                <a:lnTo>
                  <a:pt x="291572" y="591344"/>
                </a:lnTo>
                <a:lnTo>
                  <a:pt x="296251" y="594519"/>
                </a:lnTo>
                <a:lnTo>
                  <a:pt x="299370" y="596900"/>
                </a:lnTo>
                <a:lnTo>
                  <a:pt x="301709" y="600075"/>
                </a:lnTo>
                <a:lnTo>
                  <a:pt x="304049" y="604044"/>
                </a:lnTo>
                <a:lnTo>
                  <a:pt x="304829" y="608013"/>
                </a:lnTo>
                <a:lnTo>
                  <a:pt x="306388" y="612775"/>
                </a:lnTo>
                <a:lnTo>
                  <a:pt x="304829" y="615950"/>
                </a:lnTo>
                <a:lnTo>
                  <a:pt x="304049" y="621506"/>
                </a:lnTo>
                <a:lnTo>
                  <a:pt x="301709" y="624681"/>
                </a:lnTo>
                <a:lnTo>
                  <a:pt x="299370" y="628650"/>
                </a:lnTo>
                <a:lnTo>
                  <a:pt x="296251" y="631031"/>
                </a:lnTo>
                <a:lnTo>
                  <a:pt x="291572" y="632619"/>
                </a:lnTo>
                <a:lnTo>
                  <a:pt x="288452" y="635000"/>
                </a:lnTo>
                <a:lnTo>
                  <a:pt x="282994" y="635000"/>
                </a:lnTo>
                <a:lnTo>
                  <a:pt x="279874" y="635000"/>
                </a:lnTo>
                <a:lnTo>
                  <a:pt x="275195" y="632619"/>
                </a:lnTo>
                <a:lnTo>
                  <a:pt x="271296" y="631031"/>
                </a:lnTo>
                <a:lnTo>
                  <a:pt x="268957" y="628650"/>
                </a:lnTo>
                <a:lnTo>
                  <a:pt x="265058" y="624681"/>
                </a:lnTo>
                <a:lnTo>
                  <a:pt x="264278" y="621506"/>
                </a:lnTo>
                <a:lnTo>
                  <a:pt x="262718" y="615950"/>
                </a:lnTo>
                <a:lnTo>
                  <a:pt x="261938" y="612775"/>
                </a:lnTo>
                <a:lnTo>
                  <a:pt x="262718" y="608013"/>
                </a:lnTo>
                <a:lnTo>
                  <a:pt x="264278" y="604044"/>
                </a:lnTo>
                <a:lnTo>
                  <a:pt x="265058" y="600075"/>
                </a:lnTo>
                <a:lnTo>
                  <a:pt x="268957" y="596900"/>
                </a:lnTo>
                <a:lnTo>
                  <a:pt x="271296" y="594519"/>
                </a:lnTo>
                <a:lnTo>
                  <a:pt x="275195" y="591344"/>
                </a:lnTo>
                <a:lnTo>
                  <a:pt x="279874" y="590550"/>
                </a:lnTo>
                <a:close/>
                <a:moveTo>
                  <a:pt x="356697" y="568325"/>
                </a:moveTo>
                <a:lnTo>
                  <a:pt x="362354" y="568325"/>
                </a:lnTo>
                <a:lnTo>
                  <a:pt x="365587" y="568325"/>
                </a:lnTo>
                <a:lnTo>
                  <a:pt x="370436" y="569913"/>
                </a:lnTo>
                <a:lnTo>
                  <a:pt x="374477" y="572294"/>
                </a:lnTo>
                <a:lnTo>
                  <a:pt x="376902" y="574675"/>
                </a:lnTo>
                <a:lnTo>
                  <a:pt x="380943" y="577850"/>
                </a:lnTo>
                <a:lnTo>
                  <a:pt x="381751" y="581819"/>
                </a:lnTo>
                <a:lnTo>
                  <a:pt x="383367" y="585788"/>
                </a:lnTo>
                <a:lnTo>
                  <a:pt x="384175" y="590550"/>
                </a:lnTo>
                <a:lnTo>
                  <a:pt x="383367" y="594519"/>
                </a:lnTo>
                <a:lnTo>
                  <a:pt x="381751" y="599281"/>
                </a:lnTo>
                <a:lnTo>
                  <a:pt x="380943" y="602456"/>
                </a:lnTo>
                <a:lnTo>
                  <a:pt x="376902" y="604838"/>
                </a:lnTo>
                <a:lnTo>
                  <a:pt x="374477" y="608806"/>
                </a:lnTo>
                <a:lnTo>
                  <a:pt x="370436" y="610394"/>
                </a:lnTo>
                <a:lnTo>
                  <a:pt x="365587" y="611188"/>
                </a:lnTo>
                <a:lnTo>
                  <a:pt x="362354" y="612775"/>
                </a:lnTo>
                <a:lnTo>
                  <a:pt x="356697" y="611188"/>
                </a:lnTo>
                <a:lnTo>
                  <a:pt x="353464" y="610394"/>
                </a:lnTo>
                <a:lnTo>
                  <a:pt x="349423" y="608806"/>
                </a:lnTo>
                <a:lnTo>
                  <a:pt x="345383" y="604838"/>
                </a:lnTo>
                <a:lnTo>
                  <a:pt x="342958" y="602456"/>
                </a:lnTo>
                <a:lnTo>
                  <a:pt x="340533" y="599281"/>
                </a:lnTo>
                <a:lnTo>
                  <a:pt x="339725" y="594519"/>
                </a:lnTo>
                <a:lnTo>
                  <a:pt x="339725" y="590550"/>
                </a:lnTo>
                <a:lnTo>
                  <a:pt x="339725" y="585788"/>
                </a:lnTo>
                <a:lnTo>
                  <a:pt x="340533" y="581819"/>
                </a:lnTo>
                <a:lnTo>
                  <a:pt x="342958" y="577850"/>
                </a:lnTo>
                <a:lnTo>
                  <a:pt x="345383" y="574675"/>
                </a:lnTo>
                <a:lnTo>
                  <a:pt x="349423" y="572294"/>
                </a:lnTo>
                <a:lnTo>
                  <a:pt x="353464" y="569913"/>
                </a:lnTo>
                <a:lnTo>
                  <a:pt x="356697" y="568325"/>
                </a:lnTo>
                <a:close/>
                <a:moveTo>
                  <a:pt x="198438" y="568325"/>
                </a:moveTo>
                <a:lnTo>
                  <a:pt x="203200" y="568325"/>
                </a:lnTo>
                <a:lnTo>
                  <a:pt x="208756" y="568325"/>
                </a:lnTo>
                <a:lnTo>
                  <a:pt x="211931" y="569913"/>
                </a:lnTo>
                <a:lnTo>
                  <a:pt x="215900" y="572294"/>
                </a:lnTo>
                <a:lnTo>
                  <a:pt x="219075" y="574675"/>
                </a:lnTo>
                <a:lnTo>
                  <a:pt x="222250" y="577850"/>
                </a:lnTo>
                <a:lnTo>
                  <a:pt x="224631" y="581819"/>
                </a:lnTo>
                <a:lnTo>
                  <a:pt x="225425" y="585788"/>
                </a:lnTo>
                <a:lnTo>
                  <a:pt x="225425" y="590550"/>
                </a:lnTo>
                <a:lnTo>
                  <a:pt x="225425" y="594519"/>
                </a:lnTo>
                <a:lnTo>
                  <a:pt x="224631" y="599281"/>
                </a:lnTo>
                <a:lnTo>
                  <a:pt x="222250" y="602456"/>
                </a:lnTo>
                <a:lnTo>
                  <a:pt x="219075" y="604838"/>
                </a:lnTo>
                <a:lnTo>
                  <a:pt x="215900" y="608806"/>
                </a:lnTo>
                <a:lnTo>
                  <a:pt x="211931" y="610394"/>
                </a:lnTo>
                <a:lnTo>
                  <a:pt x="208756" y="611188"/>
                </a:lnTo>
                <a:lnTo>
                  <a:pt x="203200" y="612775"/>
                </a:lnTo>
                <a:lnTo>
                  <a:pt x="198438" y="611188"/>
                </a:lnTo>
                <a:lnTo>
                  <a:pt x="195263" y="610394"/>
                </a:lnTo>
                <a:lnTo>
                  <a:pt x="191294" y="608806"/>
                </a:lnTo>
                <a:lnTo>
                  <a:pt x="187325" y="604838"/>
                </a:lnTo>
                <a:lnTo>
                  <a:pt x="184944" y="602456"/>
                </a:lnTo>
                <a:lnTo>
                  <a:pt x="182563" y="599281"/>
                </a:lnTo>
                <a:lnTo>
                  <a:pt x="180975" y="594519"/>
                </a:lnTo>
                <a:lnTo>
                  <a:pt x="180975" y="590550"/>
                </a:lnTo>
                <a:lnTo>
                  <a:pt x="180975" y="585788"/>
                </a:lnTo>
                <a:lnTo>
                  <a:pt x="182563" y="581819"/>
                </a:lnTo>
                <a:lnTo>
                  <a:pt x="184944" y="577850"/>
                </a:lnTo>
                <a:lnTo>
                  <a:pt x="187325" y="574675"/>
                </a:lnTo>
                <a:lnTo>
                  <a:pt x="191294" y="572294"/>
                </a:lnTo>
                <a:lnTo>
                  <a:pt x="195263" y="569913"/>
                </a:lnTo>
                <a:lnTo>
                  <a:pt x="198438" y="568325"/>
                </a:lnTo>
                <a:close/>
                <a:moveTo>
                  <a:pt x="198438" y="484187"/>
                </a:moveTo>
                <a:lnTo>
                  <a:pt x="203200" y="484187"/>
                </a:lnTo>
                <a:lnTo>
                  <a:pt x="208756" y="484187"/>
                </a:lnTo>
                <a:lnTo>
                  <a:pt x="211931" y="484995"/>
                </a:lnTo>
                <a:lnTo>
                  <a:pt x="215900" y="487420"/>
                </a:lnTo>
                <a:lnTo>
                  <a:pt x="219075" y="489844"/>
                </a:lnTo>
                <a:lnTo>
                  <a:pt x="222250" y="493885"/>
                </a:lnTo>
                <a:lnTo>
                  <a:pt x="224631" y="497926"/>
                </a:lnTo>
                <a:lnTo>
                  <a:pt x="225425" y="501159"/>
                </a:lnTo>
                <a:lnTo>
                  <a:pt x="225425" y="506816"/>
                </a:lnTo>
                <a:lnTo>
                  <a:pt x="225425" y="510049"/>
                </a:lnTo>
                <a:lnTo>
                  <a:pt x="224631" y="514898"/>
                </a:lnTo>
                <a:lnTo>
                  <a:pt x="222250" y="518939"/>
                </a:lnTo>
                <a:lnTo>
                  <a:pt x="219075" y="522980"/>
                </a:lnTo>
                <a:lnTo>
                  <a:pt x="215900" y="525404"/>
                </a:lnTo>
                <a:lnTo>
                  <a:pt x="211931" y="526213"/>
                </a:lnTo>
                <a:lnTo>
                  <a:pt x="208756" y="528637"/>
                </a:lnTo>
                <a:lnTo>
                  <a:pt x="203200" y="528637"/>
                </a:lnTo>
                <a:lnTo>
                  <a:pt x="198438" y="528637"/>
                </a:lnTo>
                <a:lnTo>
                  <a:pt x="195263" y="526213"/>
                </a:lnTo>
                <a:lnTo>
                  <a:pt x="191294" y="525404"/>
                </a:lnTo>
                <a:lnTo>
                  <a:pt x="187325" y="522980"/>
                </a:lnTo>
                <a:lnTo>
                  <a:pt x="184944" y="518939"/>
                </a:lnTo>
                <a:lnTo>
                  <a:pt x="182563" y="514898"/>
                </a:lnTo>
                <a:lnTo>
                  <a:pt x="180975" y="510049"/>
                </a:lnTo>
                <a:lnTo>
                  <a:pt x="180975" y="506816"/>
                </a:lnTo>
                <a:lnTo>
                  <a:pt x="180975" y="501159"/>
                </a:lnTo>
                <a:lnTo>
                  <a:pt x="182563" y="497926"/>
                </a:lnTo>
                <a:lnTo>
                  <a:pt x="184944" y="493885"/>
                </a:lnTo>
                <a:lnTo>
                  <a:pt x="187325" y="489844"/>
                </a:lnTo>
                <a:lnTo>
                  <a:pt x="191294" y="487420"/>
                </a:lnTo>
                <a:lnTo>
                  <a:pt x="195263" y="484995"/>
                </a:lnTo>
                <a:lnTo>
                  <a:pt x="198438" y="484187"/>
                </a:lnTo>
                <a:close/>
                <a:moveTo>
                  <a:pt x="571096" y="481012"/>
                </a:moveTo>
                <a:lnTo>
                  <a:pt x="571905" y="481012"/>
                </a:lnTo>
                <a:lnTo>
                  <a:pt x="592138" y="569912"/>
                </a:lnTo>
                <a:lnTo>
                  <a:pt x="550863" y="569912"/>
                </a:lnTo>
                <a:lnTo>
                  <a:pt x="571096" y="481012"/>
                </a:lnTo>
                <a:close/>
                <a:moveTo>
                  <a:pt x="871538" y="476250"/>
                </a:moveTo>
                <a:lnTo>
                  <a:pt x="888490" y="476250"/>
                </a:lnTo>
                <a:lnTo>
                  <a:pt x="896562" y="477044"/>
                </a:lnTo>
                <a:lnTo>
                  <a:pt x="902212" y="478631"/>
                </a:lnTo>
                <a:lnTo>
                  <a:pt x="907862" y="481013"/>
                </a:lnTo>
                <a:lnTo>
                  <a:pt x="911091" y="484981"/>
                </a:lnTo>
                <a:lnTo>
                  <a:pt x="913513" y="488156"/>
                </a:lnTo>
                <a:lnTo>
                  <a:pt x="915934" y="492919"/>
                </a:lnTo>
                <a:lnTo>
                  <a:pt x="917549" y="499269"/>
                </a:lnTo>
                <a:lnTo>
                  <a:pt x="919163" y="507206"/>
                </a:lnTo>
                <a:lnTo>
                  <a:pt x="917549" y="514350"/>
                </a:lnTo>
                <a:lnTo>
                  <a:pt x="915934" y="520700"/>
                </a:lnTo>
                <a:lnTo>
                  <a:pt x="913513" y="525463"/>
                </a:lnTo>
                <a:lnTo>
                  <a:pt x="910284" y="528638"/>
                </a:lnTo>
                <a:lnTo>
                  <a:pt x="906248" y="532606"/>
                </a:lnTo>
                <a:lnTo>
                  <a:pt x="901405" y="534988"/>
                </a:lnTo>
                <a:lnTo>
                  <a:pt x="896562" y="536575"/>
                </a:lnTo>
                <a:lnTo>
                  <a:pt x="890104" y="536575"/>
                </a:lnTo>
                <a:lnTo>
                  <a:pt x="871538" y="536575"/>
                </a:lnTo>
                <a:lnTo>
                  <a:pt x="871538" y="476250"/>
                </a:lnTo>
                <a:close/>
                <a:moveTo>
                  <a:pt x="828675" y="447675"/>
                </a:moveTo>
                <a:lnTo>
                  <a:pt x="828675" y="644525"/>
                </a:lnTo>
                <a:lnTo>
                  <a:pt x="871798" y="644525"/>
                </a:lnTo>
                <a:lnTo>
                  <a:pt x="871798" y="565944"/>
                </a:lnTo>
                <a:lnTo>
                  <a:pt x="894157" y="565944"/>
                </a:lnTo>
                <a:lnTo>
                  <a:pt x="907733" y="564356"/>
                </a:lnTo>
                <a:lnTo>
                  <a:pt x="921309" y="561975"/>
                </a:lnTo>
                <a:lnTo>
                  <a:pt x="932489" y="557213"/>
                </a:lnTo>
                <a:lnTo>
                  <a:pt x="942071" y="550863"/>
                </a:lnTo>
                <a:lnTo>
                  <a:pt x="949258" y="542131"/>
                </a:lnTo>
                <a:lnTo>
                  <a:pt x="955647" y="532606"/>
                </a:lnTo>
                <a:lnTo>
                  <a:pt x="959640" y="520700"/>
                </a:lnTo>
                <a:lnTo>
                  <a:pt x="960438" y="507206"/>
                </a:lnTo>
                <a:lnTo>
                  <a:pt x="959640" y="496094"/>
                </a:lnTo>
                <a:lnTo>
                  <a:pt x="957244" y="484981"/>
                </a:lnTo>
                <a:lnTo>
                  <a:pt x="953251" y="474663"/>
                </a:lnTo>
                <a:lnTo>
                  <a:pt x="946863" y="465931"/>
                </a:lnTo>
                <a:lnTo>
                  <a:pt x="939676" y="458788"/>
                </a:lnTo>
                <a:lnTo>
                  <a:pt x="929294" y="452438"/>
                </a:lnTo>
                <a:lnTo>
                  <a:pt x="923704" y="450056"/>
                </a:lnTo>
                <a:lnTo>
                  <a:pt x="917316" y="449263"/>
                </a:lnTo>
                <a:lnTo>
                  <a:pt x="902143" y="447675"/>
                </a:lnTo>
                <a:lnTo>
                  <a:pt x="828675" y="447675"/>
                </a:lnTo>
                <a:close/>
                <a:moveTo>
                  <a:pt x="545830" y="447675"/>
                </a:moveTo>
                <a:lnTo>
                  <a:pt x="490538" y="644525"/>
                </a:lnTo>
                <a:lnTo>
                  <a:pt x="534771" y="644525"/>
                </a:lnTo>
                <a:lnTo>
                  <a:pt x="545040" y="602456"/>
                </a:lnTo>
                <a:lnTo>
                  <a:pt x="599541" y="602456"/>
                </a:lnTo>
                <a:lnTo>
                  <a:pt x="609810" y="644525"/>
                </a:lnTo>
                <a:lnTo>
                  <a:pt x="652463" y="644525"/>
                </a:lnTo>
                <a:lnTo>
                  <a:pt x="598752" y="447675"/>
                </a:lnTo>
                <a:lnTo>
                  <a:pt x="545830" y="447675"/>
                </a:lnTo>
                <a:close/>
                <a:moveTo>
                  <a:pt x="281461" y="447675"/>
                </a:moveTo>
                <a:lnTo>
                  <a:pt x="285360" y="447675"/>
                </a:lnTo>
                <a:lnTo>
                  <a:pt x="290039" y="447675"/>
                </a:lnTo>
                <a:lnTo>
                  <a:pt x="293938" y="449263"/>
                </a:lnTo>
                <a:lnTo>
                  <a:pt x="298617" y="451644"/>
                </a:lnTo>
                <a:lnTo>
                  <a:pt x="300957" y="454025"/>
                </a:lnTo>
                <a:lnTo>
                  <a:pt x="303296" y="457994"/>
                </a:lnTo>
                <a:lnTo>
                  <a:pt x="305636" y="461169"/>
                </a:lnTo>
                <a:lnTo>
                  <a:pt x="307195" y="465138"/>
                </a:lnTo>
                <a:lnTo>
                  <a:pt x="307975" y="469900"/>
                </a:lnTo>
                <a:lnTo>
                  <a:pt x="307195" y="473869"/>
                </a:lnTo>
                <a:lnTo>
                  <a:pt x="305636" y="478631"/>
                </a:lnTo>
                <a:lnTo>
                  <a:pt x="303296" y="482600"/>
                </a:lnTo>
                <a:lnTo>
                  <a:pt x="300957" y="485775"/>
                </a:lnTo>
                <a:lnTo>
                  <a:pt x="298617" y="488156"/>
                </a:lnTo>
                <a:lnTo>
                  <a:pt x="293938" y="489744"/>
                </a:lnTo>
                <a:lnTo>
                  <a:pt x="290039" y="492125"/>
                </a:lnTo>
                <a:lnTo>
                  <a:pt x="285360" y="492125"/>
                </a:lnTo>
                <a:lnTo>
                  <a:pt x="281461" y="492125"/>
                </a:lnTo>
                <a:lnTo>
                  <a:pt x="276782" y="489744"/>
                </a:lnTo>
                <a:lnTo>
                  <a:pt x="273663" y="488156"/>
                </a:lnTo>
                <a:lnTo>
                  <a:pt x="270544" y="485775"/>
                </a:lnTo>
                <a:lnTo>
                  <a:pt x="267424" y="482600"/>
                </a:lnTo>
                <a:lnTo>
                  <a:pt x="265865" y="478631"/>
                </a:lnTo>
                <a:lnTo>
                  <a:pt x="265085" y="473869"/>
                </a:lnTo>
                <a:lnTo>
                  <a:pt x="263525" y="469900"/>
                </a:lnTo>
                <a:lnTo>
                  <a:pt x="265085" y="465138"/>
                </a:lnTo>
                <a:lnTo>
                  <a:pt x="265865" y="461169"/>
                </a:lnTo>
                <a:lnTo>
                  <a:pt x="267424" y="457994"/>
                </a:lnTo>
                <a:lnTo>
                  <a:pt x="270544" y="454025"/>
                </a:lnTo>
                <a:lnTo>
                  <a:pt x="273663" y="451644"/>
                </a:lnTo>
                <a:lnTo>
                  <a:pt x="276782" y="449263"/>
                </a:lnTo>
                <a:lnTo>
                  <a:pt x="281461" y="447675"/>
                </a:lnTo>
                <a:close/>
                <a:moveTo>
                  <a:pt x="725488" y="444500"/>
                </a:moveTo>
                <a:lnTo>
                  <a:pt x="716757" y="446088"/>
                </a:lnTo>
                <a:lnTo>
                  <a:pt x="708026" y="447675"/>
                </a:lnTo>
                <a:lnTo>
                  <a:pt x="700882" y="450850"/>
                </a:lnTo>
                <a:lnTo>
                  <a:pt x="694532" y="454819"/>
                </a:lnTo>
                <a:lnTo>
                  <a:pt x="688182" y="458788"/>
                </a:lnTo>
                <a:lnTo>
                  <a:pt x="683419" y="463550"/>
                </a:lnTo>
                <a:lnTo>
                  <a:pt x="679451" y="469106"/>
                </a:lnTo>
                <a:lnTo>
                  <a:pt x="676276" y="475456"/>
                </a:lnTo>
                <a:lnTo>
                  <a:pt x="672307" y="484188"/>
                </a:lnTo>
                <a:lnTo>
                  <a:pt x="669926" y="491331"/>
                </a:lnTo>
                <a:lnTo>
                  <a:pt x="667544" y="500063"/>
                </a:lnTo>
                <a:lnTo>
                  <a:pt x="665163" y="521494"/>
                </a:lnTo>
                <a:lnTo>
                  <a:pt x="665163" y="544513"/>
                </a:lnTo>
                <a:lnTo>
                  <a:pt x="665163" y="567531"/>
                </a:lnTo>
                <a:lnTo>
                  <a:pt x="667544" y="588963"/>
                </a:lnTo>
                <a:lnTo>
                  <a:pt x="669926" y="607219"/>
                </a:lnTo>
                <a:lnTo>
                  <a:pt x="672307" y="614363"/>
                </a:lnTo>
                <a:lnTo>
                  <a:pt x="676276" y="622300"/>
                </a:lnTo>
                <a:lnTo>
                  <a:pt x="679451" y="627856"/>
                </a:lnTo>
                <a:lnTo>
                  <a:pt x="685007" y="633413"/>
                </a:lnTo>
                <a:lnTo>
                  <a:pt x="689769" y="638175"/>
                </a:lnTo>
                <a:lnTo>
                  <a:pt x="694532" y="641350"/>
                </a:lnTo>
                <a:lnTo>
                  <a:pt x="701676" y="644525"/>
                </a:lnTo>
                <a:lnTo>
                  <a:pt x="708819" y="646906"/>
                </a:lnTo>
                <a:lnTo>
                  <a:pt x="717551" y="647700"/>
                </a:lnTo>
                <a:lnTo>
                  <a:pt x="726282" y="647700"/>
                </a:lnTo>
                <a:lnTo>
                  <a:pt x="739776" y="646906"/>
                </a:lnTo>
                <a:lnTo>
                  <a:pt x="752476" y="642938"/>
                </a:lnTo>
                <a:lnTo>
                  <a:pt x="757238" y="640556"/>
                </a:lnTo>
                <a:lnTo>
                  <a:pt x="762001" y="636588"/>
                </a:lnTo>
                <a:lnTo>
                  <a:pt x="765969" y="631825"/>
                </a:lnTo>
                <a:lnTo>
                  <a:pt x="770732" y="627063"/>
                </a:lnTo>
                <a:lnTo>
                  <a:pt x="770732" y="645319"/>
                </a:lnTo>
                <a:lnTo>
                  <a:pt x="801688" y="645319"/>
                </a:lnTo>
                <a:lnTo>
                  <a:pt x="801688" y="538163"/>
                </a:lnTo>
                <a:lnTo>
                  <a:pt x="733426" y="538163"/>
                </a:lnTo>
                <a:lnTo>
                  <a:pt x="733426" y="567531"/>
                </a:lnTo>
                <a:lnTo>
                  <a:pt x="760413" y="567531"/>
                </a:lnTo>
                <a:lnTo>
                  <a:pt x="760413" y="587375"/>
                </a:lnTo>
                <a:lnTo>
                  <a:pt x="760413" y="596106"/>
                </a:lnTo>
                <a:lnTo>
                  <a:pt x="758032" y="602456"/>
                </a:lnTo>
                <a:lnTo>
                  <a:pt x="755651" y="607219"/>
                </a:lnTo>
                <a:lnTo>
                  <a:pt x="752476" y="611981"/>
                </a:lnTo>
                <a:lnTo>
                  <a:pt x="748507" y="614363"/>
                </a:lnTo>
                <a:lnTo>
                  <a:pt x="743744" y="616744"/>
                </a:lnTo>
                <a:lnTo>
                  <a:pt x="739776" y="619919"/>
                </a:lnTo>
                <a:lnTo>
                  <a:pt x="735013" y="619919"/>
                </a:lnTo>
                <a:lnTo>
                  <a:pt x="727869" y="618331"/>
                </a:lnTo>
                <a:lnTo>
                  <a:pt x="723901" y="616744"/>
                </a:lnTo>
                <a:lnTo>
                  <a:pt x="719932" y="614363"/>
                </a:lnTo>
                <a:lnTo>
                  <a:pt x="715169" y="607219"/>
                </a:lnTo>
                <a:lnTo>
                  <a:pt x="711994" y="598488"/>
                </a:lnTo>
                <a:lnTo>
                  <a:pt x="708819" y="587375"/>
                </a:lnTo>
                <a:lnTo>
                  <a:pt x="708026" y="573881"/>
                </a:lnTo>
                <a:lnTo>
                  <a:pt x="706438" y="542131"/>
                </a:lnTo>
                <a:lnTo>
                  <a:pt x="706438" y="524669"/>
                </a:lnTo>
                <a:lnTo>
                  <a:pt x="708026" y="511175"/>
                </a:lnTo>
                <a:lnTo>
                  <a:pt x="710407" y="499269"/>
                </a:lnTo>
                <a:lnTo>
                  <a:pt x="712788" y="488950"/>
                </a:lnTo>
                <a:lnTo>
                  <a:pt x="716757" y="483394"/>
                </a:lnTo>
                <a:lnTo>
                  <a:pt x="721519" y="477838"/>
                </a:lnTo>
                <a:lnTo>
                  <a:pt x="727869" y="474663"/>
                </a:lnTo>
                <a:lnTo>
                  <a:pt x="735013" y="473075"/>
                </a:lnTo>
                <a:lnTo>
                  <a:pt x="741363" y="474663"/>
                </a:lnTo>
                <a:lnTo>
                  <a:pt x="746126" y="477044"/>
                </a:lnTo>
                <a:lnTo>
                  <a:pt x="750094" y="480219"/>
                </a:lnTo>
                <a:lnTo>
                  <a:pt x="753269" y="484188"/>
                </a:lnTo>
                <a:lnTo>
                  <a:pt x="755651" y="488950"/>
                </a:lnTo>
                <a:lnTo>
                  <a:pt x="758032" y="495300"/>
                </a:lnTo>
                <a:lnTo>
                  <a:pt x="759619" y="506413"/>
                </a:lnTo>
                <a:lnTo>
                  <a:pt x="798513" y="506413"/>
                </a:lnTo>
                <a:lnTo>
                  <a:pt x="798513" y="492919"/>
                </a:lnTo>
                <a:lnTo>
                  <a:pt x="795338" y="480219"/>
                </a:lnTo>
                <a:lnTo>
                  <a:pt x="790576" y="469106"/>
                </a:lnTo>
                <a:lnTo>
                  <a:pt x="784226" y="461169"/>
                </a:lnTo>
                <a:lnTo>
                  <a:pt x="780257" y="457200"/>
                </a:lnTo>
                <a:lnTo>
                  <a:pt x="775494" y="453231"/>
                </a:lnTo>
                <a:lnTo>
                  <a:pt x="764382" y="448469"/>
                </a:lnTo>
                <a:lnTo>
                  <a:pt x="750888" y="444500"/>
                </a:lnTo>
                <a:lnTo>
                  <a:pt x="735013" y="444500"/>
                </a:lnTo>
                <a:lnTo>
                  <a:pt x="725488" y="444500"/>
                </a:lnTo>
                <a:close/>
                <a:moveTo>
                  <a:pt x="301193" y="412750"/>
                </a:moveTo>
                <a:lnTo>
                  <a:pt x="289314" y="414333"/>
                </a:lnTo>
                <a:lnTo>
                  <a:pt x="265557" y="417498"/>
                </a:lnTo>
                <a:lnTo>
                  <a:pt x="251303" y="419871"/>
                </a:lnTo>
                <a:lnTo>
                  <a:pt x="235465" y="425410"/>
                </a:lnTo>
                <a:lnTo>
                  <a:pt x="218835" y="430158"/>
                </a:lnTo>
                <a:lnTo>
                  <a:pt x="202205" y="436488"/>
                </a:lnTo>
                <a:lnTo>
                  <a:pt x="184784" y="444401"/>
                </a:lnTo>
                <a:lnTo>
                  <a:pt x="168946" y="453104"/>
                </a:lnTo>
                <a:lnTo>
                  <a:pt x="153899" y="465765"/>
                </a:lnTo>
                <a:lnTo>
                  <a:pt x="140437" y="477633"/>
                </a:lnTo>
                <a:lnTo>
                  <a:pt x="134894" y="485546"/>
                </a:lnTo>
                <a:lnTo>
                  <a:pt x="129351" y="493459"/>
                </a:lnTo>
                <a:lnTo>
                  <a:pt x="126183" y="502163"/>
                </a:lnTo>
                <a:lnTo>
                  <a:pt x="122223" y="510866"/>
                </a:lnTo>
                <a:lnTo>
                  <a:pt x="119056" y="521153"/>
                </a:lnTo>
                <a:lnTo>
                  <a:pt x="117472" y="530648"/>
                </a:lnTo>
                <a:lnTo>
                  <a:pt x="115888" y="541726"/>
                </a:lnTo>
                <a:lnTo>
                  <a:pt x="115888" y="552803"/>
                </a:lnTo>
                <a:lnTo>
                  <a:pt x="115888" y="562298"/>
                </a:lnTo>
                <a:lnTo>
                  <a:pt x="119056" y="571002"/>
                </a:lnTo>
                <a:lnTo>
                  <a:pt x="121432" y="579706"/>
                </a:lnTo>
                <a:lnTo>
                  <a:pt x="124599" y="588410"/>
                </a:lnTo>
                <a:lnTo>
                  <a:pt x="128559" y="595531"/>
                </a:lnTo>
                <a:lnTo>
                  <a:pt x="133310" y="602653"/>
                </a:lnTo>
                <a:lnTo>
                  <a:pt x="139645" y="608983"/>
                </a:lnTo>
                <a:lnTo>
                  <a:pt x="145980" y="616104"/>
                </a:lnTo>
                <a:lnTo>
                  <a:pt x="159443" y="627182"/>
                </a:lnTo>
                <a:lnTo>
                  <a:pt x="176073" y="637468"/>
                </a:lnTo>
                <a:lnTo>
                  <a:pt x="193494" y="646172"/>
                </a:lnTo>
                <a:lnTo>
                  <a:pt x="213292" y="653293"/>
                </a:lnTo>
                <a:lnTo>
                  <a:pt x="233881" y="658041"/>
                </a:lnTo>
                <a:lnTo>
                  <a:pt x="254471" y="661997"/>
                </a:lnTo>
                <a:lnTo>
                  <a:pt x="275852" y="664371"/>
                </a:lnTo>
                <a:lnTo>
                  <a:pt x="296441" y="665162"/>
                </a:lnTo>
                <a:lnTo>
                  <a:pt x="317031" y="664371"/>
                </a:lnTo>
                <a:lnTo>
                  <a:pt x="336828" y="661997"/>
                </a:lnTo>
                <a:lnTo>
                  <a:pt x="355042" y="658041"/>
                </a:lnTo>
                <a:lnTo>
                  <a:pt x="372464" y="653293"/>
                </a:lnTo>
                <a:lnTo>
                  <a:pt x="383550" y="648546"/>
                </a:lnTo>
                <a:lnTo>
                  <a:pt x="393053" y="643798"/>
                </a:lnTo>
                <a:lnTo>
                  <a:pt x="403348" y="637468"/>
                </a:lnTo>
                <a:lnTo>
                  <a:pt x="411267" y="631138"/>
                </a:lnTo>
                <a:lnTo>
                  <a:pt x="427897" y="619269"/>
                </a:lnTo>
                <a:lnTo>
                  <a:pt x="439775" y="604235"/>
                </a:lnTo>
                <a:lnTo>
                  <a:pt x="444527" y="597114"/>
                </a:lnTo>
                <a:lnTo>
                  <a:pt x="449278" y="590784"/>
                </a:lnTo>
                <a:lnTo>
                  <a:pt x="451654" y="583662"/>
                </a:lnTo>
                <a:lnTo>
                  <a:pt x="454821" y="575750"/>
                </a:lnTo>
                <a:lnTo>
                  <a:pt x="455613" y="570211"/>
                </a:lnTo>
                <a:lnTo>
                  <a:pt x="455613" y="562298"/>
                </a:lnTo>
                <a:lnTo>
                  <a:pt x="455613" y="555968"/>
                </a:lnTo>
                <a:lnTo>
                  <a:pt x="453238" y="550429"/>
                </a:lnTo>
                <a:lnTo>
                  <a:pt x="450862" y="546473"/>
                </a:lnTo>
                <a:lnTo>
                  <a:pt x="446902" y="542517"/>
                </a:lnTo>
                <a:lnTo>
                  <a:pt x="439775" y="535395"/>
                </a:lnTo>
                <a:lnTo>
                  <a:pt x="428689" y="530648"/>
                </a:lnTo>
                <a:lnTo>
                  <a:pt x="416810" y="528274"/>
                </a:lnTo>
                <a:lnTo>
                  <a:pt x="404140" y="524318"/>
                </a:lnTo>
                <a:lnTo>
                  <a:pt x="392261" y="521153"/>
                </a:lnTo>
                <a:lnTo>
                  <a:pt x="381175" y="515614"/>
                </a:lnTo>
                <a:lnTo>
                  <a:pt x="372464" y="510866"/>
                </a:lnTo>
                <a:lnTo>
                  <a:pt x="365337" y="506119"/>
                </a:lnTo>
                <a:lnTo>
                  <a:pt x="359793" y="499789"/>
                </a:lnTo>
                <a:lnTo>
                  <a:pt x="357418" y="493459"/>
                </a:lnTo>
                <a:lnTo>
                  <a:pt x="356626" y="487920"/>
                </a:lnTo>
                <a:lnTo>
                  <a:pt x="357418" y="483964"/>
                </a:lnTo>
                <a:lnTo>
                  <a:pt x="359001" y="479216"/>
                </a:lnTo>
                <a:lnTo>
                  <a:pt x="363753" y="475260"/>
                </a:lnTo>
                <a:lnTo>
                  <a:pt x="370088" y="472095"/>
                </a:lnTo>
                <a:lnTo>
                  <a:pt x="378799" y="468930"/>
                </a:lnTo>
                <a:lnTo>
                  <a:pt x="386718" y="465765"/>
                </a:lnTo>
                <a:lnTo>
                  <a:pt x="394637" y="461808"/>
                </a:lnTo>
                <a:lnTo>
                  <a:pt x="399388" y="457061"/>
                </a:lnTo>
                <a:lnTo>
                  <a:pt x="403348" y="452313"/>
                </a:lnTo>
                <a:lnTo>
                  <a:pt x="406515" y="448357"/>
                </a:lnTo>
                <a:lnTo>
                  <a:pt x="408099" y="443609"/>
                </a:lnTo>
                <a:lnTo>
                  <a:pt x="408099" y="439653"/>
                </a:lnTo>
                <a:lnTo>
                  <a:pt x="406515" y="436488"/>
                </a:lnTo>
                <a:lnTo>
                  <a:pt x="405724" y="432532"/>
                </a:lnTo>
                <a:lnTo>
                  <a:pt x="403348" y="430158"/>
                </a:lnTo>
                <a:lnTo>
                  <a:pt x="397805" y="426202"/>
                </a:lnTo>
                <a:lnTo>
                  <a:pt x="388302" y="421454"/>
                </a:lnTo>
                <a:lnTo>
                  <a:pt x="376423" y="417498"/>
                </a:lnTo>
                <a:lnTo>
                  <a:pt x="359793" y="414333"/>
                </a:lnTo>
                <a:lnTo>
                  <a:pt x="341580" y="412750"/>
                </a:lnTo>
                <a:lnTo>
                  <a:pt x="321782" y="412750"/>
                </a:lnTo>
                <a:lnTo>
                  <a:pt x="301193" y="412750"/>
                </a:lnTo>
                <a:close/>
                <a:moveTo>
                  <a:pt x="514350" y="0"/>
                </a:moveTo>
                <a:lnTo>
                  <a:pt x="542925" y="0"/>
                </a:lnTo>
                <a:lnTo>
                  <a:pt x="571500" y="0"/>
                </a:lnTo>
                <a:lnTo>
                  <a:pt x="598488" y="2381"/>
                </a:lnTo>
                <a:lnTo>
                  <a:pt x="625475" y="6350"/>
                </a:lnTo>
                <a:lnTo>
                  <a:pt x="652463" y="11113"/>
                </a:lnTo>
                <a:lnTo>
                  <a:pt x="679450" y="17463"/>
                </a:lnTo>
                <a:lnTo>
                  <a:pt x="704850" y="24606"/>
                </a:lnTo>
                <a:lnTo>
                  <a:pt x="729456" y="33338"/>
                </a:lnTo>
                <a:lnTo>
                  <a:pt x="754063" y="42863"/>
                </a:lnTo>
                <a:lnTo>
                  <a:pt x="778669" y="53975"/>
                </a:lnTo>
                <a:lnTo>
                  <a:pt x="802481" y="65088"/>
                </a:lnTo>
                <a:lnTo>
                  <a:pt x="823913" y="78581"/>
                </a:lnTo>
                <a:lnTo>
                  <a:pt x="846138" y="92075"/>
                </a:lnTo>
                <a:lnTo>
                  <a:pt x="868363" y="107950"/>
                </a:lnTo>
                <a:lnTo>
                  <a:pt x="888206" y="124619"/>
                </a:lnTo>
                <a:lnTo>
                  <a:pt x="908050" y="141288"/>
                </a:lnTo>
                <a:lnTo>
                  <a:pt x="927100" y="158750"/>
                </a:lnTo>
                <a:lnTo>
                  <a:pt x="944563" y="178594"/>
                </a:lnTo>
                <a:lnTo>
                  <a:pt x="962025" y="198438"/>
                </a:lnTo>
                <a:lnTo>
                  <a:pt x="977900" y="217488"/>
                </a:lnTo>
                <a:lnTo>
                  <a:pt x="993775" y="239713"/>
                </a:lnTo>
                <a:lnTo>
                  <a:pt x="1007269" y="261938"/>
                </a:lnTo>
                <a:lnTo>
                  <a:pt x="1020763" y="284163"/>
                </a:lnTo>
                <a:lnTo>
                  <a:pt x="1032669" y="307181"/>
                </a:lnTo>
                <a:lnTo>
                  <a:pt x="1042988" y="331787"/>
                </a:lnTo>
                <a:lnTo>
                  <a:pt x="1052513" y="356394"/>
                </a:lnTo>
                <a:lnTo>
                  <a:pt x="1061244" y="382587"/>
                </a:lnTo>
                <a:lnTo>
                  <a:pt x="1068388" y="407194"/>
                </a:lnTo>
                <a:lnTo>
                  <a:pt x="1074738" y="434181"/>
                </a:lnTo>
                <a:lnTo>
                  <a:pt x="1079500" y="461169"/>
                </a:lnTo>
                <a:lnTo>
                  <a:pt x="1083469" y="488156"/>
                </a:lnTo>
                <a:lnTo>
                  <a:pt x="1085850" y="515144"/>
                </a:lnTo>
                <a:lnTo>
                  <a:pt x="1085850" y="543719"/>
                </a:lnTo>
                <a:lnTo>
                  <a:pt x="1085850" y="572294"/>
                </a:lnTo>
                <a:lnTo>
                  <a:pt x="1083469" y="599281"/>
                </a:lnTo>
                <a:lnTo>
                  <a:pt x="1079500" y="626269"/>
                </a:lnTo>
                <a:lnTo>
                  <a:pt x="1074738" y="653256"/>
                </a:lnTo>
                <a:lnTo>
                  <a:pt x="1068388" y="678656"/>
                </a:lnTo>
                <a:lnTo>
                  <a:pt x="1061244" y="704850"/>
                </a:lnTo>
                <a:lnTo>
                  <a:pt x="1052513" y="731044"/>
                </a:lnTo>
                <a:lnTo>
                  <a:pt x="1042988" y="755650"/>
                </a:lnTo>
                <a:lnTo>
                  <a:pt x="1032669" y="780256"/>
                </a:lnTo>
                <a:lnTo>
                  <a:pt x="1020763" y="803275"/>
                </a:lnTo>
                <a:lnTo>
                  <a:pt x="1007269" y="825500"/>
                </a:lnTo>
                <a:lnTo>
                  <a:pt x="993775" y="847725"/>
                </a:lnTo>
                <a:lnTo>
                  <a:pt x="977900" y="868362"/>
                </a:lnTo>
                <a:lnTo>
                  <a:pt x="962025" y="889000"/>
                </a:lnTo>
                <a:lnTo>
                  <a:pt x="944563" y="908843"/>
                </a:lnTo>
                <a:lnTo>
                  <a:pt x="927100" y="928687"/>
                </a:lnTo>
                <a:lnTo>
                  <a:pt x="908050" y="946150"/>
                </a:lnTo>
                <a:lnTo>
                  <a:pt x="888206" y="962818"/>
                </a:lnTo>
                <a:lnTo>
                  <a:pt x="868363" y="979487"/>
                </a:lnTo>
                <a:lnTo>
                  <a:pt x="846138" y="995362"/>
                </a:lnTo>
                <a:lnTo>
                  <a:pt x="823913" y="1008856"/>
                </a:lnTo>
                <a:lnTo>
                  <a:pt x="802481" y="1022350"/>
                </a:lnTo>
                <a:lnTo>
                  <a:pt x="778669" y="1033462"/>
                </a:lnTo>
                <a:lnTo>
                  <a:pt x="754063" y="1044575"/>
                </a:lnTo>
                <a:lnTo>
                  <a:pt x="729456" y="1054100"/>
                </a:lnTo>
                <a:lnTo>
                  <a:pt x="704850" y="1062831"/>
                </a:lnTo>
                <a:lnTo>
                  <a:pt x="679450" y="1069975"/>
                </a:lnTo>
                <a:lnTo>
                  <a:pt x="652463" y="1076325"/>
                </a:lnTo>
                <a:lnTo>
                  <a:pt x="625475" y="1081087"/>
                </a:lnTo>
                <a:lnTo>
                  <a:pt x="598488" y="1085056"/>
                </a:lnTo>
                <a:lnTo>
                  <a:pt x="571500" y="1085850"/>
                </a:lnTo>
                <a:lnTo>
                  <a:pt x="542925" y="1087437"/>
                </a:lnTo>
                <a:lnTo>
                  <a:pt x="514350" y="1085850"/>
                </a:lnTo>
                <a:lnTo>
                  <a:pt x="487363" y="1085056"/>
                </a:lnTo>
                <a:lnTo>
                  <a:pt x="460375" y="1081087"/>
                </a:lnTo>
                <a:lnTo>
                  <a:pt x="433388" y="1076325"/>
                </a:lnTo>
                <a:lnTo>
                  <a:pt x="407988" y="1069975"/>
                </a:lnTo>
                <a:lnTo>
                  <a:pt x="381794" y="1062831"/>
                </a:lnTo>
                <a:lnTo>
                  <a:pt x="356394" y="1054100"/>
                </a:lnTo>
                <a:lnTo>
                  <a:pt x="331788" y="1044575"/>
                </a:lnTo>
                <a:lnTo>
                  <a:pt x="307975" y="1033462"/>
                </a:lnTo>
                <a:lnTo>
                  <a:pt x="283369" y="1022350"/>
                </a:lnTo>
                <a:lnTo>
                  <a:pt x="261938" y="1008856"/>
                </a:lnTo>
                <a:lnTo>
                  <a:pt x="239713" y="995362"/>
                </a:lnTo>
                <a:lnTo>
                  <a:pt x="218281" y="979487"/>
                </a:lnTo>
                <a:lnTo>
                  <a:pt x="197644" y="962818"/>
                </a:lnTo>
                <a:lnTo>
                  <a:pt x="177800" y="946150"/>
                </a:lnTo>
                <a:lnTo>
                  <a:pt x="159544" y="928687"/>
                </a:lnTo>
                <a:lnTo>
                  <a:pt x="141288" y="908843"/>
                </a:lnTo>
                <a:lnTo>
                  <a:pt x="123825"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3825" y="198438"/>
                </a:lnTo>
                <a:lnTo>
                  <a:pt x="141288" y="178594"/>
                </a:lnTo>
                <a:lnTo>
                  <a:pt x="159544" y="158750"/>
                </a:lnTo>
                <a:lnTo>
                  <a:pt x="177800" y="141288"/>
                </a:lnTo>
                <a:lnTo>
                  <a:pt x="197644" y="124619"/>
                </a:lnTo>
                <a:lnTo>
                  <a:pt x="218281" y="107950"/>
                </a:lnTo>
                <a:lnTo>
                  <a:pt x="239713" y="92075"/>
                </a:lnTo>
                <a:lnTo>
                  <a:pt x="261938" y="78581"/>
                </a:lnTo>
                <a:lnTo>
                  <a:pt x="283369" y="65088"/>
                </a:lnTo>
                <a:lnTo>
                  <a:pt x="307975" y="53975"/>
                </a:lnTo>
                <a:lnTo>
                  <a:pt x="331788" y="42863"/>
                </a:lnTo>
                <a:lnTo>
                  <a:pt x="356394" y="33338"/>
                </a:lnTo>
                <a:lnTo>
                  <a:pt x="381794" y="24606"/>
                </a:lnTo>
                <a:lnTo>
                  <a:pt x="407988" y="17463"/>
                </a:lnTo>
                <a:lnTo>
                  <a:pt x="433388" y="11113"/>
                </a:lnTo>
                <a:lnTo>
                  <a:pt x="460375" y="6350"/>
                </a:lnTo>
                <a:lnTo>
                  <a:pt x="487363" y="2381"/>
                </a:lnTo>
                <a:lnTo>
                  <a:pt x="514350"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151"/>
          <p:cNvSpPr>
            <a:spLocks/>
          </p:cNvSpPr>
          <p:nvPr userDrawn="1"/>
        </p:nvSpPr>
        <p:spPr bwMode="auto">
          <a:xfrm>
            <a:off x="1745600" y="3970395"/>
            <a:ext cx="1080000" cy="1080000"/>
          </a:xfrm>
          <a:custGeom>
            <a:avLst/>
            <a:gdLst>
              <a:gd name="T0" fmla="*/ 307466 w 1087200"/>
              <a:gd name="T1" fmla="*/ 601404 h 1087200"/>
              <a:gd name="T2" fmla="*/ 333293 w 1087200"/>
              <a:gd name="T3" fmla="*/ 713322 h 1087200"/>
              <a:gd name="T4" fmla="*/ 360350 w 1087200"/>
              <a:gd name="T5" fmla="*/ 611243 h 1087200"/>
              <a:gd name="T6" fmla="*/ 394787 w 1087200"/>
              <a:gd name="T7" fmla="*/ 717011 h 1087200"/>
              <a:gd name="T8" fmla="*/ 423074 w 1087200"/>
              <a:gd name="T9" fmla="*/ 606323 h 1087200"/>
              <a:gd name="T10" fmla="*/ 412005 w 1087200"/>
              <a:gd name="T11" fmla="*/ 489486 h 1087200"/>
              <a:gd name="T12" fmla="*/ 131596 w 1087200"/>
              <a:gd name="T13" fmla="*/ 612472 h 1087200"/>
              <a:gd name="T14" fmla="*/ 141435 w 1087200"/>
              <a:gd name="T15" fmla="*/ 634610 h 1087200"/>
              <a:gd name="T16" fmla="*/ 180791 w 1087200"/>
              <a:gd name="T17" fmla="*/ 719470 h 1087200"/>
              <a:gd name="T18" fmla="*/ 210308 w 1087200"/>
              <a:gd name="T19" fmla="*/ 704712 h 1087200"/>
              <a:gd name="T20" fmla="*/ 239824 w 1087200"/>
              <a:gd name="T21" fmla="*/ 710861 h 1087200"/>
              <a:gd name="T22" fmla="*/ 275491 w 1087200"/>
              <a:gd name="T23" fmla="*/ 627230 h 1087200"/>
              <a:gd name="T24" fmla="*/ 212767 w 1087200"/>
              <a:gd name="T25" fmla="*/ 489486 h 1087200"/>
              <a:gd name="T26" fmla="*/ 571887 w 1087200"/>
              <a:gd name="T27" fmla="*/ 480877 h 1087200"/>
              <a:gd name="T28" fmla="*/ 915020 w 1087200"/>
              <a:gd name="T29" fmla="*/ 488256 h 1087200"/>
              <a:gd name="T30" fmla="*/ 911330 w 1087200"/>
              <a:gd name="T31" fmla="*/ 528841 h 1087200"/>
              <a:gd name="T32" fmla="*/ 830158 w 1087200"/>
              <a:gd name="T33" fmla="*/ 447671 h 1087200"/>
              <a:gd name="T34" fmla="*/ 933466 w 1087200"/>
              <a:gd name="T35" fmla="*/ 557129 h 1087200"/>
              <a:gd name="T36" fmla="*/ 958064 w 1087200"/>
              <a:gd name="T37" fmla="*/ 484567 h 1087200"/>
              <a:gd name="T38" fmla="*/ 903950 w 1087200"/>
              <a:gd name="T39" fmla="*/ 447671 h 1087200"/>
              <a:gd name="T40" fmla="*/ 610013 w 1087200"/>
              <a:gd name="T41" fmla="*/ 644449 h 1087200"/>
              <a:gd name="T42" fmla="*/ 702252 w 1087200"/>
              <a:gd name="T43" fmla="*/ 450130 h 1087200"/>
              <a:gd name="T44" fmla="*/ 671506 w 1087200"/>
              <a:gd name="T45" fmla="*/ 490716 h 1087200"/>
              <a:gd name="T46" fmla="*/ 673965 w 1087200"/>
              <a:gd name="T47" fmla="*/ 613703 h 1087200"/>
              <a:gd name="T48" fmla="*/ 710861 w 1087200"/>
              <a:gd name="T49" fmla="*/ 645679 h 1087200"/>
              <a:gd name="T50" fmla="*/ 767435 w 1087200"/>
              <a:gd name="T51" fmla="*/ 630921 h 1087200"/>
              <a:gd name="T52" fmla="*/ 762516 w 1087200"/>
              <a:gd name="T53" fmla="*/ 566968 h 1087200"/>
              <a:gd name="T54" fmla="*/ 745298 w 1087200"/>
              <a:gd name="T55" fmla="*/ 616162 h 1087200"/>
              <a:gd name="T56" fmla="*/ 713321 w 1087200"/>
              <a:gd name="T57" fmla="*/ 597714 h 1087200"/>
              <a:gd name="T58" fmla="*/ 714551 w 1087200"/>
              <a:gd name="T59" fmla="*/ 488256 h 1087200"/>
              <a:gd name="T60" fmla="*/ 751447 w 1087200"/>
              <a:gd name="T61" fmla="*/ 479647 h 1087200"/>
              <a:gd name="T62" fmla="*/ 796952 w 1087200"/>
              <a:gd name="T63" fmla="*/ 479647 h 1087200"/>
              <a:gd name="T64" fmla="*/ 736689 w 1087200"/>
              <a:gd name="T65" fmla="*/ 443981 h 1087200"/>
              <a:gd name="T66" fmla="*/ 328374 w 1087200"/>
              <a:gd name="T67" fmla="*/ 405855 h 1087200"/>
              <a:gd name="T68" fmla="*/ 334524 w 1087200"/>
              <a:gd name="T69" fmla="*/ 463659 h 1087200"/>
              <a:gd name="T70" fmla="*/ 392327 w 1087200"/>
              <a:gd name="T71" fmla="*/ 469808 h 1087200"/>
              <a:gd name="T72" fmla="*/ 408316 w 1087200"/>
              <a:gd name="T73" fmla="*/ 414464 h 1087200"/>
              <a:gd name="T74" fmla="*/ 204157 w 1087200"/>
              <a:gd name="T75" fmla="*/ 384948 h 1087200"/>
              <a:gd name="T76" fmla="*/ 158652 w 1087200"/>
              <a:gd name="T77" fmla="*/ 421844 h 1087200"/>
              <a:gd name="T78" fmla="*/ 185709 w 1087200"/>
              <a:gd name="T79" fmla="*/ 473499 h 1087200"/>
              <a:gd name="T80" fmla="*/ 242283 w 1087200"/>
              <a:gd name="T81" fmla="*/ 456280 h 1087200"/>
              <a:gd name="T82" fmla="*/ 236134 w 1087200"/>
              <a:gd name="T83" fmla="*/ 398477 h 1087200"/>
              <a:gd name="T84" fmla="*/ 571887 w 1087200"/>
              <a:gd name="T85" fmla="*/ 0 h 1087200"/>
              <a:gd name="T86" fmla="*/ 755137 w 1087200"/>
              <a:gd name="T87" fmla="*/ 43045 h 1087200"/>
              <a:gd name="T88" fmla="*/ 908870 w 1087200"/>
              <a:gd name="T89" fmla="*/ 141435 h 1087200"/>
              <a:gd name="T90" fmla="*/ 1022017 w 1087200"/>
              <a:gd name="T91" fmla="*/ 284099 h 1087200"/>
              <a:gd name="T92" fmla="*/ 1081051 w 1087200"/>
              <a:gd name="T93" fmla="*/ 461199 h 1087200"/>
              <a:gd name="T94" fmla="*/ 1076131 w 1087200"/>
              <a:gd name="T95" fmla="*/ 653058 h 1087200"/>
              <a:gd name="T96" fmla="*/ 1008489 w 1087200"/>
              <a:gd name="T97" fmla="*/ 825239 h 1087200"/>
              <a:gd name="T98" fmla="*/ 889192 w 1087200"/>
              <a:gd name="T99" fmla="*/ 962984 h 1087200"/>
              <a:gd name="T100" fmla="*/ 730540 w 1087200"/>
              <a:gd name="T101" fmla="*/ 1053994 h 1087200"/>
              <a:gd name="T102" fmla="*/ 543600 w 1087200"/>
              <a:gd name="T103" fmla="*/ 1087200 h 1087200"/>
              <a:gd name="T104" fmla="*/ 356661 w 1087200"/>
              <a:gd name="T105" fmla="*/ 1053994 h 1087200"/>
              <a:gd name="T106" fmla="*/ 198008 w 1087200"/>
              <a:gd name="T107" fmla="*/ 962984 h 1087200"/>
              <a:gd name="T108" fmla="*/ 78712 w 1087200"/>
              <a:gd name="T109" fmla="*/ 825239 h 1087200"/>
              <a:gd name="T110" fmla="*/ 11069 w 1087200"/>
              <a:gd name="T111" fmla="*/ 653058 h 1087200"/>
              <a:gd name="T112" fmla="*/ 6150 w 1087200"/>
              <a:gd name="T113" fmla="*/ 461199 h 1087200"/>
              <a:gd name="T114" fmla="*/ 65183 w 1087200"/>
              <a:gd name="T115" fmla="*/ 284099 h 1087200"/>
              <a:gd name="T116" fmla="*/ 178331 w 1087200"/>
              <a:gd name="T117" fmla="*/ 141435 h 1087200"/>
              <a:gd name="T118" fmla="*/ 332064 w 1087200"/>
              <a:gd name="T119" fmla="*/ 43045 h 1087200"/>
              <a:gd name="T120" fmla="*/ 515313 w 1087200"/>
              <a:gd name="T121"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320995" y="489486"/>
                </a:moveTo>
                <a:lnTo>
                  <a:pt x="314845" y="490716"/>
                </a:lnTo>
                <a:lnTo>
                  <a:pt x="309926" y="493176"/>
                </a:lnTo>
                <a:lnTo>
                  <a:pt x="307466" y="499325"/>
                </a:lnTo>
                <a:lnTo>
                  <a:pt x="306236" y="504245"/>
                </a:lnTo>
                <a:lnTo>
                  <a:pt x="306236" y="595255"/>
                </a:lnTo>
                <a:lnTo>
                  <a:pt x="307466" y="601404"/>
                </a:lnTo>
                <a:lnTo>
                  <a:pt x="309926" y="606323"/>
                </a:lnTo>
                <a:lnTo>
                  <a:pt x="314845" y="610013"/>
                </a:lnTo>
                <a:lnTo>
                  <a:pt x="320995" y="611243"/>
                </a:lnTo>
                <a:lnTo>
                  <a:pt x="329604" y="611243"/>
                </a:lnTo>
                <a:lnTo>
                  <a:pt x="329604" y="702253"/>
                </a:lnTo>
                <a:lnTo>
                  <a:pt x="330834" y="708402"/>
                </a:lnTo>
                <a:lnTo>
                  <a:pt x="333293" y="713322"/>
                </a:lnTo>
                <a:lnTo>
                  <a:pt x="338213" y="717011"/>
                </a:lnTo>
                <a:lnTo>
                  <a:pt x="344362" y="718241"/>
                </a:lnTo>
                <a:lnTo>
                  <a:pt x="350511" y="717011"/>
                </a:lnTo>
                <a:lnTo>
                  <a:pt x="355431" y="713322"/>
                </a:lnTo>
                <a:lnTo>
                  <a:pt x="359121" y="708402"/>
                </a:lnTo>
                <a:lnTo>
                  <a:pt x="360350" y="702253"/>
                </a:lnTo>
                <a:lnTo>
                  <a:pt x="360350" y="611243"/>
                </a:lnTo>
                <a:lnTo>
                  <a:pt x="373879" y="611243"/>
                </a:lnTo>
                <a:lnTo>
                  <a:pt x="373879" y="702253"/>
                </a:lnTo>
                <a:lnTo>
                  <a:pt x="375109" y="708402"/>
                </a:lnTo>
                <a:lnTo>
                  <a:pt x="377569" y="713322"/>
                </a:lnTo>
                <a:lnTo>
                  <a:pt x="382488" y="717011"/>
                </a:lnTo>
                <a:lnTo>
                  <a:pt x="388637" y="718241"/>
                </a:lnTo>
                <a:lnTo>
                  <a:pt x="394787" y="717011"/>
                </a:lnTo>
                <a:lnTo>
                  <a:pt x="399706" y="713322"/>
                </a:lnTo>
                <a:lnTo>
                  <a:pt x="403396" y="708402"/>
                </a:lnTo>
                <a:lnTo>
                  <a:pt x="404626" y="702253"/>
                </a:lnTo>
                <a:lnTo>
                  <a:pt x="404626" y="611243"/>
                </a:lnTo>
                <a:lnTo>
                  <a:pt x="412005" y="611243"/>
                </a:lnTo>
                <a:lnTo>
                  <a:pt x="418154" y="610013"/>
                </a:lnTo>
                <a:lnTo>
                  <a:pt x="423074" y="606323"/>
                </a:lnTo>
                <a:lnTo>
                  <a:pt x="425533" y="601404"/>
                </a:lnTo>
                <a:lnTo>
                  <a:pt x="426763" y="595255"/>
                </a:lnTo>
                <a:lnTo>
                  <a:pt x="426763" y="504245"/>
                </a:lnTo>
                <a:lnTo>
                  <a:pt x="425533" y="499325"/>
                </a:lnTo>
                <a:lnTo>
                  <a:pt x="423074" y="493176"/>
                </a:lnTo>
                <a:lnTo>
                  <a:pt x="418154" y="490716"/>
                </a:lnTo>
                <a:lnTo>
                  <a:pt x="412005" y="489486"/>
                </a:lnTo>
                <a:lnTo>
                  <a:pt x="320995" y="489486"/>
                </a:lnTo>
                <a:close/>
                <a:moveTo>
                  <a:pt x="204158" y="487026"/>
                </a:moveTo>
                <a:lnTo>
                  <a:pt x="199239" y="488256"/>
                </a:lnTo>
                <a:lnTo>
                  <a:pt x="195549" y="489486"/>
                </a:lnTo>
                <a:lnTo>
                  <a:pt x="191860" y="491946"/>
                </a:lnTo>
                <a:lnTo>
                  <a:pt x="189400" y="496865"/>
                </a:lnTo>
                <a:lnTo>
                  <a:pt x="131596" y="612472"/>
                </a:lnTo>
                <a:lnTo>
                  <a:pt x="130366" y="616162"/>
                </a:lnTo>
                <a:lnTo>
                  <a:pt x="130366" y="619851"/>
                </a:lnTo>
                <a:lnTo>
                  <a:pt x="130366" y="623541"/>
                </a:lnTo>
                <a:lnTo>
                  <a:pt x="131596" y="627230"/>
                </a:lnTo>
                <a:lnTo>
                  <a:pt x="134056" y="630920"/>
                </a:lnTo>
                <a:lnTo>
                  <a:pt x="137745" y="633380"/>
                </a:lnTo>
                <a:lnTo>
                  <a:pt x="141435" y="634610"/>
                </a:lnTo>
                <a:lnTo>
                  <a:pt x="145125" y="634610"/>
                </a:lnTo>
                <a:lnTo>
                  <a:pt x="166032" y="634610"/>
                </a:lnTo>
                <a:lnTo>
                  <a:pt x="166032" y="704712"/>
                </a:lnTo>
                <a:lnTo>
                  <a:pt x="167262" y="710861"/>
                </a:lnTo>
                <a:lnTo>
                  <a:pt x="169722" y="715781"/>
                </a:lnTo>
                <a:lnTo>
                  <a:pt x="174641" y="718240"/>
                </a:lnTo>
                <a:lnTo>
                  <a:pt x="180791" y="719470"/>
                </a:lnTo>
                <a:lnTo>
                  <a:pt x="186940" y="718240"/>
                </a:lnTo>
                <a:lnTo>
                  <a:pt x="191860" y="715781"/>
                </a:lnTo>
                <a:lnTo>
                  <a:pt x="195549" y="710861"/>
                </a:lnTo>
                <a:lnTo>
                  <a:pt x="196779" y="704712"/>
                </a:lnTo>
                <a:lnTo>
                  <a:pt x="196779" y="634610"/>
                </a:lnTo>
                <a:lnTo>
                  <a:pt x="210308" y="634610"/>
                </a:lnTo>
                <a:lnTo>
                  <a:pt x="210308" y="704712"/>
                </a:lnTo>
                <a:lnTo>
                  <a:pt x="211537" y="710861"/>
                </a:lnTo>
                <a:lnTo>
                  <a:pt x="215227" y="715781"/>
                </a:lnTo>
                <a:lnTo>
                  <a:pt x="220147" y="718240"/>
                </a:lnTo>
                <a:lnTo>
                  <a:pt x="226296" y="719470"/>
                </a:lnTo>
                <a:lnTo>
                  <a:pt x="232445" y="718240"/>
                </a:lnTo>
                <a:lnTo>
                  <a:pt x="237365" y="715781"/>
                </a:lnTo>
                <a:lnTo>
                  <a:pt x="239824" y="710861"/>
                </a:lnTo>
                <a:lnTo>
                  <a:pt x="241054" y="704712"/>
                </a:lnTo>
                <a:lnTo>
                  <a:pt x="241054" y="634610"/>
                </a:lnTo>
                <a:lnTo>
                  <a:pt x="263192" y="634610"/>
                </a:lnTo>
                <a:lnTo>
                  <a:pt x="266881" y="634610"/>
                </a:lnTo>
                <a:lnTo>
                  <a:pt x="270571" y="633380"/>
                </a:lnTo>
                <a:lnTo>
                  <a:pt x="273031" y="630920"/>
                </a:lnTo>
                <a:lnTo>
                  <a:pt x="275491" y="627230"/>
                </a:lnTo>
                <a:lnTo>
                  <a:pt x="277950" y="623541"/>
                </a:lnTo>
                <a:lnTo>
                  <a:pt x="277950" y="619851"/>
                </a:lnTo>
                <a:lnTo>
                  <a:pt x="277950" y="616162"/>
                </a:lnTo>
                <a:lnTo>
                  <a:pt x="276720" y="612472"/>
                </a:lnTo>
                <a:lnTo>
                  <a:pt x="218917" y="495635"/>
                </a:lnTo>
                <a:lnTo>
                  <a:pt x="216457" y="491946"/>
                </a:lnTo>
                <a:lnTo>
                  <a:pt x="212767" y="489486"/>
                </a:lnTo>
                <a:lnTo>
                  <a:pt x="207848" y="488256"/>
                </a:lnTo>
                <a:lnTo>
                  <a:pt x="204158" y="487026"/>
                </a:lnTo>
                <a:close/>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366500" y="386177"/>
                </a:moveTo>
                <a:lnTo>
                  <a:pt x="357891" y="387407"/>
                </a:lnTo>
                <a:lnTo>
                  <a:pt x="349282" y="389867"/>
                </a:lnTo>
                <a:lnTo>
                  <a:pt x="340673" y="393556"/>
                </a:lnTo>
                <a:lnTo>
                  <a:pt x="334524" y="399706"/>
                </a:lnTo>
                <a:lnTo>
                  <a:pt x="328374" y="405855"/>
                </a:lnTo>
                <a:lnTo>
                  <a:pt x="324685" y="414464"/>
                </a:lnTo>
                <a:lnTo>
                  <a:pt x="322225" y="423073"/>
                </a:lnTo>
                <a:lnTo>
                  <a:pt x="320995" y="431682"/>
                </a:lnTo>
                <a:lnTo>
                  <a:pt x="322225" y="440291"/>
                </a:lnTo>
                <a:lnTo>
                  <a:pt x="324685" y="448900"/>
                </a:lnTo>
                <a:lnTo>
                  <a:pt x="328374" y="457509"/>
                </a:lnTo>
                <a:lnTo>
                  <a:pt x="334524" y="463659"/>
                </a:lnTo>
                <a:lnTo>
                  <a:pt x="340673" y="469808"/>
                </a:lnTo>
                <a:lnTo>
                  <a:pt x="349282" y="473498"/>
                </a:lnTo>
                <a:lnTo>
                  <a:pt x="357891" y="475957"/>
                </a:lnTo>
                <a:lnTo>
                  <a:pt x="366500" y="477187"/>
                </a:lnTo>
                <a:lnTo>
                  <a:pt x="375109" y="475957"/>
                </a:lnTo>
                <a:lnTo>
                  <a:pt x="383718" y="473498"/>
                </a:lnTo>
                <a:lnTo>
                  <a:pt x="392327" y="469808"/>
                </a:lnTo>
                <a:lnTo>
                  <a:pt x="398477" y="463659"/>
                </a:lnTo>
                <a:lnTo>
                  <a:pt x="403396" y="457509"/>
                </a:lnTo>
                <a:lnTo>
                  <a:pt x="408316" y="448900"/>
                </a:lnTo>
                <a:lnTo>
                  <a:pt x="410775" y="440291"/>
                </a:lnTo>
                <a:lnTo>
                  <a:pt x="412005" y="431682"/>
                </a:lnTo>
                <a:lnTo>
                  <a:pt x="410775" y="423073"/>
                </a:lnTo>
                <a:lnTo>
                  <a:pt x="408316" y="414464"/>
                </a:lnTo>
                <a:lnTo>
                  <a:pt x="403396" y="405855"/>
                </a:lnTo>
                <a:lnTo>
                  <a:pt x="398477" y="399706"/>
                </a:lnTo>
                <a:lnTo>
                  <a:pt x="392327" y="393556"/>
                </a:lnTo>
                <a:lnTo>
                  <a:pt x="383718" y="389867"/>
                </a:lnTo>
                <a:lnTo>
                  <a:pt x="375109" y="387407"/>
                </a:lnTo>
                <a:lnTo>
                  <a:pt x="366500" y="386177"/>
                </a:lnTo>
                <a:close/>
                <a:moveTo>
                  <a:pt x="204157" y="384948"/>
                </a:moveTo>
                <a:lnTo>
                  <a:pt x="194318" y="386178"/>
                </a:lnTo>
                <a:lnTo>
                  <a:pt x="185709" y="388638"/>
                </a:lnTo>
                <a:lnTo>
                  <a:pt x="178330" y="393557"/>
                </a:lnTo>
                <a:lnTo>
                  <a:pt x="172181" y="398477"/>
                </a:lnTo>
                <a:lnTo>
                  <a:pt x="166031" y="405856"/>
                </a:lnTo>
                <a:lnTo>
                  <a:pt x="162342" y="413235"/>
                </a:lnTo>
                <a:lnTo>
                  <a:pt x="158652" y="421844"/>
                </a:lnTo>
                <a:lnTo>
                  <a:pt x="158652" y="430453"/>
                </a:lnTo>
                <a:lnTo>
                  <a:pt x="158652" y="440292"/>
                </a:lnTo>
                <a:lnTo>
                  <a:pt x="162342" y="448901"/>
                </a:lnTo>
                <a:lnTo>
                  <a:pt x="166031" y="456280"/>
                </a:lnTo>
                <a:lnTo>
                  <a:pt x="172181" y="463660"/>
                </a:lnTo>
                <a:lnTo>
                  <a:pt x="178330" y="468579"/>
                </a:lnTo>
                <a:lnTo>
                  <a:pt x="185709" y="473499"/>
                </a:lnTo>
                <a:lnTo>
                  <a:pt x="194318" y="475958"/>
                </a:lnTo>
                <a:lnTo>
                  <a:pt x="204157" y="477188"/>
                </a:lnTo>
                <a:lnTo>
                  <a:pt x="212766" y="475958"/>
                </a:lnTo>
                <a:lnTo>
                  <a:pt x="221375" y="473499"/>
                </a:lnTo>
                <a:lnTo>
                  <a:pt x="229984" y="468579"/>
                </a:lnTo>
                <a:lnTo>
                  <a:pt x="236134" y="463660"/>
                </a:lnTo>
                <a:lnTo>
                  <a:pt x="242283" y="456280"/>
                </a:lnTo>
                <a:lnTo>
                  <a:pt x="245973" y="448901"/>
                </a:lnTo>
                <a:lnTo>
                  <a:pt x="248432" y="440292"/>
                </a:lnTo>
                <a:lnTo>
                  <a:pt x="249662" y="430453"/>
                </a:lnTo>
                <a:lnTo>
                  <a:pt x="248432" y="421844"/>
                </a:lnTo>
                <a:lnTo>
                  <a:pt x="245973" y="413235"/>
                </a:lnTo>
                <a:lnTo>
                  <a:pt x="242283" y="405856"/>
                </a:lnTo>
                <a:lnTo>
                  <a:pt x="236134" y="398477"/>
                </a:lnTo>
                <a:lnTo>
                  <a:pt x="229984" y="393557"/>
                </a:lnTo>
                <a:lnTo>
                  <a:pt x="221375" y="388638"/>
                </a:lnTo>
                <a:lnTo>
                  <a:pt x="212766" y="386178"/>
                </a:lnTo>
                <a:lnTo>
                  <a:pt x="204157" y="384948"/>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82"/>
          <p:cNvSpPr>
            <a:spLocks/>
          </p:cNvSpPr>
          <p:nvPr userDrawn="1"/>
        </p:nvSpPr>
        <p:spPr bwMode="auto">
          <a:xfrm>
            <a:off x="3222903"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1973 w 1087200"/>
              <a:gd name="T7" fmla="*/ 644449 h 1087200"/>
              <a:gd name="T8" fmla="*/ 950684 w 1087200"/>
              <a:gd name="T9" fmla="*/ 542371 h 1087200"/>
              <a:gd name="T10" fmla="*/ 948225 w 1087200"/>
              <a:gd name="T11" fmla="*/ 466119 h 1087200"/>
              <a:gd name="T12" fmla="*/ 546060 w 1087200"/>
              <a:gd name="T13" fmla="*/ 447671 h 1087200"/>
              <a:gd name="T14" fmla="*/ 597714 w 1087200"/>
              <a:gd name="T15" fmla="*/ 447671 h 1087200"/>
              <a:gd name="T16" fmla="*/ 689953 w 1087200"/>
              <a:gd name="T17" fmla="*/ 457510 h 1087200"/>
              <a:gd name="T18" fmla="*/ 666586 w 1087200"/>
              <a:gd name="T19" fmla="*/ 520233 h 1087200"/>
              <a:gd name="T20" fmla="*/ 681344 w 1087200"/>
              <a:gd name="T21" fmla="*/ 627231 h 1087200"/>
              <a:gd name="T22" fmla="*/ 728079 w 1087200"/>
              <a:gd name="T23" fmla="*/ 646909 h 1087200"/>
              <a:gd name="T24" fmla="*/ 772354 w 1087200"/>
              <a:gd name="T25" fmla="*/ 644449 h 1087200"/>
              <a:gd name="T26" fmla="*/ 762516 w 1087200"/>
              <a:gd name="T27" fmla="*/ 595255 h 1087200"/>
              <a:gd name="T28" fmla="*/ 736688 w 1087200"/>
              <a:gd name="T29" fmla="*/ 618622 h 1087200"/>
              <a:gd name="T30" fmla="*/ 709631 w 1087200"/>
              <a:gd name="T31" fmla="*/ 573117 h 1087200"/>
              <a:gd name="T32" fmla="*/ 723160 w 1087200"/>
              <a:gd name="T33" fmla="*/ 477188 h 1087200"/>
              <a:gd name="T34" fmla="*/ 757596 w 1087200"/>
              <a:gd name="T35" fmla="*/ 488256 h 1087200"/>
              <a:gd name="T36" fmla="*/ 785883 w 1087200"/>
              <a:gd name="T37" fmla="*/ 459969 h 1087200"/>
              <a:gd name="T38" fmla="*/ 316075 w 1087200"/>
              <a:gd name="T39" fmla="*/ 431682 h 1087200"/>
              <a:gd name="T40" fmla="*/ 186939 w 1087200"/>
              <a:gd name="T41" fmla="*/ 670276 h 1087200"/>
              <a:gd name="T42" fmla="*/ 260731 w 1087200"/>
              <a:gd name="T43" fmla="*/ 689953 h 1087200"/>
              <a:gd name="T44" fmla="*/ 274260 w 1087200"/>
              <a:gd name="T45" fmla="*/ 844916 h 1087200"/>
              <a:gd name="T46" fmla="*/ 300087 w 1087200"/>
              <a:gd name="T47" fmla="*/ 836307 h 1087200"/>
              <a:gd name="T48" fmla="*/ 332063 w 1087200"/>
              <a:gd name="T49" fmla="*/ 828928 h 1087200"/>
              <a:gd name="T50" fmla="*/ 352971 w 1087200"/>
              <a:gd name="T51" fmla="*/ 846146 h 1087200"/>
              <a:gd name="T52" fmla="*/ 373879 w 1087200"/>
              <a:gd name="T53" fmla="*/ 828928 h 1087200"/>
              <a:gd name="T54" fmla="*/ 441521 w 1087200"/>
              <a:gd name="T55" fmla="*/ 680115 h 1087200"/>
              <a:gd name="T56" fmla="*/ 327144 w 1087200"/>
              <a:gd name="T57" fmla="*/ 435372 h 1087200"/>
              <a:gd name="T58" fmla="*/ 275489 w 1087200"/>
              <a:gd name="T59" fmla="*/ 250892 h 1087200"/>
              <a:gd name="T60" fmla="*/ 238593 w 1087200"/>
              <a:gd name="T61" fmla="*/ 291478 h 1087200"/>
              <a:gd name="T62" fmla="*/ 236134 w 1087200"/>
              <a:gd name="T63" fmla="*/ 349281 h 1087200"/>
              <a:gd name="T64" fmla="*/ 269340 w 1087200"/>
              <a:gd name="T65" fmla="*/ 393557 h 1087200"/>
              <a:gd name="T66" fmla="*/ 324684 w 1087200"/>
              <a:gd name="T67" fmla="*/ 408315 h 1087200"/>
              <a:gd name="T68" fmla="*/ 375109 w 1087200"/>
              <a:gd name="T69" fmla="*/ 383718 h 1087200"/>
              <a:gd name="T70" fmla="*/ 398476 w 1087200"/>
              <a:gd name="T71" fmla="*/ 333293 h 1087200"/>
              <a:gd name="T72" fmla="*/ 384948 w 1087200"/>
              <a:gd name="T73" fmla="*/ 277949 h 1087200"/>
              <a:gd name="T74" fmla="*/ 340672 w 1087200"/>
              <a:gd name="T75" fmla="*/ 244743 h 1087200"/>
              <a:gd name="T76" fmla="*/ 571887 w 1087200"/>
              <a:gd name="T77" fmla="*/ 0 h 1087200"/>
              <a:gd name="T78" fmla="*/ 755137 w 1087200"/>
              <a:gd name="T79" fmla="*/ 43045 h 1087200"/>
              <a:gd name="T80" fmla="*/ 908870 w 1087200"/>
              <a:gd name="T81" fmla="*/ 141435 h 1087200"/>
              <a:gd name="T82" fmla="*/ 1022017 w 1087200"/>
              <a:gd name="T83" fmla="*/ 284099 h 1087200"/>
              <a:gd name="T84" fmla="*/ 1081051 w 1087200"/>
              <a:gd name="T85" fmla="*/ 461199 h 1087200"/>
              <a:gd name="T86" fmla="*/ 1076131 w 1087200"/>
              <a:gd name="T87" fmla="*/ 653058 h 1087200"/>
              <a:gd name="T88" fmla="*/ 1008489 w 1087200"/>
              <a:gd name="T89" fmla="*/ 825239 h 1087200"/>
              <a:gd name="T90" fmla="*/ 889192 w 1087200"/>
              <a:gd name="T91" fmla="*/ 962984 h 1087200"/>
              <a:gd name="T92" fmla="*/ 730539 w 1087200"/>
              <a:gd name="T93" fmla="*/ 1053994 h 1087200"/>
              <a:gd name="T94" fmla="*/ 543600 w 1087200"/>
              <a:gd name="T95" fmla="*/ 1087200 h 1087200"/>
              <a:gd name="T96" fmla="*/ 356661 w 1087200"/>
              <a:gd name="T97" fmla="*/ 1053994 h 1087200"/>
              <a:gd name="T98" fmla="*/ 198008 w 1087200"/>
              <a:gd name="T99" fmla="*/ 962984 h 1087200"/>
              <a:gd name="T100" fmla="*/ 78711 w 1087200"/>
              <a:gd name="T101" fmla="*/ 825239 h 1087200"/>
              <a:gd name="T102" fmla="*/ 11069 w 1087200"/>
              <a:gd name="T103" fmla="*/ 653058 h 1087200"/>
              <a:gd name="T104" fmla="*/ 6149 w 1087200"/>
              <a:gd name="T105" fmla="*/ 461199 h 1087200"/>
              <a:gd name="T106" fmla="*/ 65183 w 1087200"/>
              <a:gd name="T107" fmla="*/ 284099 h 1087200"/>
              <a:gd name="T108" fmla="*/ 178330 w 1087200"/>
              <a:gd name="T109" fmla="*/ 141435 h 1087200"/>
              <a:gd name="T110" fmla="*/ 332063 w 1087200"/>
              <a:gd name="T111" fmla="*/ 43045 h 1087200"/>
              <a:gd name="T112" fmla="*/ 515313 w 1087200"/>
              <a:gd name="T113"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7200" h="1087200">
                <a:moveTo>
                  <a:pt x="571887" y="480877"/>
                </a:moveTo>
                <a:lnTo>
                  <a:pt x="573117" y="480877"/>
                </a:lnTo>
                <a:lnTo>
                  <a:pt x="592795" y="569427"/>
                </a:lnTo>
                <a:lnTo>
                  <a:pt x="552209" y="569427"/>
                </a:lnTo>
                <a:lnTo>
                  <a:pt x="571887" y="480877"/>
                </a:lnTo>
                <a:close/>
                <a:moveTo>
                  <a:pt x="871974" y="475957"/>
                </a:moveTo>
                <a:lnTo>
                  <a:pt x="890422" y="475957"/>
                </a:lnTo>
                <a:lnTo>
                  <a:pt x="897801" y="477187"/>
                </a:lnTo>
                <a:lnTo>
                  <a:pt x="903951" y="478417"/>
                </a:lnTo>
                <a:lnTo>
                  <a:pt x="908870" y="480877"/>
                </a:lnTo>
                <a:lnTo>
                  <a:pt x="912560" y="484566"/>
                </a:lnTo>
                <a:lnTo>
                  <a:pt x="915019" y="488256"/>
                </a:lnTo>
                <a:lnTo>
                  <a:pt x="917479" y="493175"/>
                </a:lnTo>
                <a:lnTo>
                  <a:pt x="918709" y="499324"/>
                </a:lnTo>
                <a:lnTo>
                  <a:pt x="918709" y="506704"/>
                </a:lnTo>
                <a:lnTo>
                  <a:pt x="918709" y="514083"/>
                </a:lnTo>
                <a:lnTo>
                  <a:pt x="917479" y="520232"/>
                </a:lnTo>
                <a:lnTo>
                  <a:pt x="915019" y="525151"/>
                </a:lnTo>
                <a:lnTo>
                  <a:pt x="911330" y="528841"/>
                </a:lnTo>
                <a:lnTo>
                  <a:pt x="907640" y="532531"/>
                </a:lnTo>
                <a:lnTo>
                  <a:pt x="902721" y="534990"/>
                </a:lnTo>
                <a:lnTo>
                  <a:pt x="896571" y="536220"/>
                </a:lnTo>
                <a:lnTo>
                  <a:pt x="891652" y="536220"/>
                </a:lnTo>
                <a:lnTo>
                  <a:pt x="871974" y="536220"/>
                </a:lnTo>
                <a:lnTo>
                  <a:pt x="871974" y="475957"/>
                </a:lnTo>
                <a:close/>
                <a:moveTo>
                  <a:pt x="830158" y="447671"/>
                </a:moveTo>
                <a:lnTo>
                  <a:pt x="830158" y="644449"/>
                </a:lnTo>
                <a:lnTo>
                  <a:pt x="871973" y="644449"/>
                </a:lnTo>
                <a:lnTo>
                  <a:pt x="871973" y="565738"/>
                </a:lnTo>
                <a:lnTo>
                  <a:pt x="895341" y="565738"/>
                </a:lnTo>
                <a:lnTo>
                  <a:pt x="908869" y="564508"/>
                </a:lnTo>
                <a:lnTo>
                  <a:pt x="922398" y="562048"/>
                </a:lnTo>
                <a:lnTo>
                  <a:pt x="933466" y="557129"/>
                </a:lnTo>
                <a:lnTo>
                  <a:pt x="943305" y="550980"/>
                </a:lnTo>
                <a:lnTo>
                  <a:pt x="950684" y="542371"/>
                </a:lnTo>
                <a:lnTo>
                  <a:pt x="956834" y="532532"/>
                </a:lnTo>
                <a:lnTo>
                  <a:pt x="960523" y="520233"/>
                </a:lnTo>
                <a:lnTo>
                  <a:pt x="961753" y="506705"/>
                </a:lnTo>
                <a:lnTo>
                  <a:pt x="960523" y="495636"/>
                </a:lnTo>
                <a:lnTo>
                  <a:pt x="958063" y="484567"/>
                </a:lnTo>
                <a:lnTo>
                  <a:pt x="954374" y="474728"/>
                </a:lnTo>
                <a:lnTo>
                  <a:pt x="948225" y="466119"/>
                </a:lnTo>
                <a:lnTo>
                  <a:pt x="940845"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7714" y="447671"/>
                </a:lnTo>
                <a:lnTo>
                  <a:pt x="546060" y="447671"/>
                </a:lnTo>
                <a:close/>
                <a:moveTo>
                  <a:pt x="726849" y="443981"/>
                </a:moveTo>
                <a:lnTo>
                  <a:pt x="718240" y="445211"/>
                </a:lnTo>
                <a:lnTo>
                  <a:pt x="709631" y="446441"/>
                </a:lnTo>
                <a:lnTo>
                  <a:pt x="702252" y="450130"/>
                </a:lnTo>
                <a:lnTo>
                  <a:pt x="696103" y="453820"/>
                </a:lnTo>
                <a:lnTo>
                  <a:pt x="689953" y="457510"/>
                </a:lnTo>
                <a:lnTo>
                  <a:pt x="685034" y="462429"/>
                </a:lnTo>
                <a:lnTo>
                  <a:pt x="681344" y="468578"/>
                </a:lnTo>
                <a:lnTo>
                  <a:pt x="677655" y="474728"/>
                </a:lnTo>
                <a:lnTo>
                  <a:pt x="673965" y="483337"/>
                </a:lnTo>
                <a:lnTo>
                  <a:pt x="671506" y="490716"/>
                </a:lnTo>
                <a:lnTo>
                  <a:pt x="669046" y="499325"/>
                </a:lnTo>
                <a:lnTo>
                  <a:pt x="666586" y="520233"/>
                </a:lnTo>
                <a:lnTo>
                  <a:pt x="666586" y="543600"/>
                </a:lnTo>
                <a:lnTo>
                  <a:pt x="666586" y="566968"/>
                </a:lnTo>
                <a:lnTo>
                  <a:pt x="667816" y="587876"/>
                </a:lnTo>
                <a:lnTo>
                  <a:pt x="671506" y="606324"/>
                </a:lnTo>
                <a:lnTo>
                  <a:pt x="673965" y="613703"/>
                </a:lnTo>
                <a:lnTo>
                  <a:pt x="677655" y="621082"/>
                </a:lnTo>
                <a:lnTo>
                  <a:pt x="681344" y="627231"/>
                </a:lnTo>
                <a:lnTo>
                  <a:pt x="686264" y="632151"/>
                </a:lnTo>
                <a:lnTo>
                  <a:pt x="691183" y="637070"/>
                </a:lnTo>
                <a:lnTo>
                  <a:pt x="696103" y="640760"/>
                </a:lnTo>
                <a:lnTo>
                  <a:pt x="703482" y="643220"/>
                </a:lnTo>
                <a:lnTo>
                  <a:pt x="710861" y="645679"/>
                </a:lnTo>
                <a:lnTo>
                  <a:pt x="718240" y="646909"/>
                </a:lnTo>
                <a:lnTo>
                  <a:pt x="728079" y="646909"/>
                </a:lnTo>
                <a:lnTo>
                  <a:pt x="741608" y="645679"/>
                </a:lnTo>
                <a:lnTo>
                  <a:pt x="753906" y="641990"/>
                </a:lnTo>
                <a:lnTo>
                  <a:pt x="758826" y="639530"/>
                </a:lnTo>
                <a:lnTo>
                  <a:pt x="763745" y="635840"/>
                </a:lnTo>
                <a:lnTo>
                  <a:pt x="767435" y="630921"/>
                </a:lnTo>
                <a:lnTo>
                  <a:pt x="772354" y="626001"/>
                </a:lnTo>
                <a:lnTo>
                  <a:pt x="772354" y="644449"/>
                </a:lnTo>
                <a:lnTo>
                  <a:pt x="803101" y="644449"/>
                </a:lnTo>
                <a:lnTo>
                  <a:pt x="803101" y="537451"/>
                </a:lnTo>
                <a:lnTo>
                  <a:pt x="735458" y="537451"/>
                </a:lnTo>
                <a:lnTo>
                  <a:pt x="735458" y="566968"/>
                </a:lnTo>
                <a:lnTo>
                  <a:pt x="762516" y="566968"/>
                </a:lnTo>
                <a:lnTo>
                  <a:pt x="762516" y="586646"/>
                </a:lnTo>
                <a:lnTo>
                  <a:pt x="762516" y="595255"/>
                </a:lnTo>
                <a:lnTo>
                  <a:pt x="760056" y="601404"/>
                </a:lnTo>
                <a:lnTo>
                  <a:pt x="757596" y="606324"/>
                </a:lnTo>
                <a:lnTo>
                  <a:pt x="753906" y="611243"/>
                </a:lnTo>
                <a:lnTo>
                  <a:pt x="750217" y="613703"/>
                </a:lnTo>
                <a:lnTo>
                  <a:pt x="745297" y="616162"/>
                </a:lnTo>
                <a:lnTo>
                  <a:pt x="740378" y="618622"/>
                </a:lnTo>
                <a:lnTo>
                  <a:pt x="736688" y="618622"/>
                </a:lnTo>
                <a:lnTo>
                  <a:pt x="729309" y="617392"/>
                </a:lnTo>
                <a:lnTo>
                  <a:pt x="725620" y="616162"/>
                </a:lnTo>
                <a:lnTo>
                  <a:pt x="721930" y="613703"/>
                </a:lnTo>
                <a:lnTo>
                  <a:pt x="717011" y="606324"/>
                </a:lnTo>
                <a:lnTo>
                  <a:pt x="713321" y="597714"/>
                </a:lnTo>
                <a:lnTo>
                  <a:pt x="710861" y="586646"/>
                </a:lnTo>
                <a:lnTo>
                  <a:pt x="709631" y="573117"/>
                </a:lnTo>
                <a:lnTo>
                  <a:pt x="708401" y="541141"/>
                </a:lnTo>
                <a:lnTo>
                  <a:pt x="708401" y="523922"/>
                </a:lnTo>
                <a:lnTo>
                  <a:pt x="709631" y="510394"/>
                </a:lnTo>
                <a:lnTo>
                  <a:pt x="712091" y="498095"/>
                </a:lnTo>
                <a:lnTo>
                  <a:pt x="714551" y="488256"/>
                </a:lnTo>
                <a:lnTo>
                  <a:pt x="718240" y="482107"/>
                </a:lnTo>
                <a:lnTo>
                  <a:pt x="723160" y="477188"/>
                </a:lnTo>
                <a:lnTo>
                  <a:pt x="729309" y="473498"/>
                </a:lnTo>
                <a:lnTo>
                  <a:pt x="736688" y="472268"/>
                </a:lnTo>
                <a:lnTo>
                  <a:pt x="742838" y="473498"/>
                </a:lnTo>
                <a:lnTo>
                  <a:pt x="747757" y="475958"/>
                </a:lnTo>
                <a:lnTo>
                  <a:pt x="751447" y="479647"/>
                </a:lnTo>
                <a:lnTo>
                  <a:pt x="755136" y="483337"/>
                </a:lnTo>
                <a:lnTo>
                  <a:pt x="757596" y="488256"/>
                </a:lnTo>
                <a:lnTo>
                  <a:pt x="758826" y="494406"/>
                </a:lnTo>
                <a:lnTo>
                  <a:pt x="760056" y="505474"/>
                </a:lnTo>
                <a:lnTo>
                  <a:pt x="800641" y="505474"/>
                </a:lnTo>
                <a:lnTo>
                  <a:pt x="799411" y="491946"/>
                </a:lnTo>
                <a:lnTo>
                  <a:pt x="796952" y="479647"/>
                </a:lnTo>
                <a:lnTo>
                  <a:pt x="792032" y="468578"/>
                </a:lnTo>
                <a:lnTo>
                  <a:pt x="785883" y="459969"/>
                </a:lnTo>
                <a:lnTo>
                  <a:pt x="782193" y="456280"/>
                </a:lnTo>
                <a:lnTo>
                  <a:pt x="777274" y="452590"/>
                </a:lnTo>
                <a:lnTo>
                  <a:pt x="766205" y="447671"/>
                </a:lnTo>
                <a:lnTo>
                  <a:pt x="752677" y="443981"/>
                </a:lnTo>
                <a:lnTo>
                  <a:pt x="736688" y="443981"/>
                </a:lnTo>
                <a:lnTo>
                  <a:pt x="726849" y="443981"/>
                </a:lnTo>
                <a:close/>
                <a:moveTo>
                  <a:pt x="316075" y="431682"/>
                </a:moveTo>
                <a:lnTo>
                  <a:pt x="309926" y="432912"/>
                </a:lnTo>
                <a:lnTo>
                  <a:pt x="305006" y="435372"/>
                </a:lnTo>
                <a:lnTo>
                  <a:pt x="300087" y="439061"/>
                </a:lnTo>
                <a:lnTo>
                  <a:pt x="296397" y="443981"/>
                </a:lnTo>
                <a:lnTo>
                  <a:pt x="189399" y="659207"/>
                </a:lnTo>
                <a:lnTo>
                  <a:pt x="188169" y="664126"/>
                </a:lnTo>
                <a:lnTo>
                  <a:pt x="186939" y="670276"/>
                </a:lnTo>
                <a:lnTo>
                  <a:pt x="188169" y="675195"/>
                </a:lnTo>
                <a:lnTo>
                  <a:pt x="190629" y="680115"/>
                </a:lnTo>
                <a:lnTo>
                  <a:pt x="194318" y="683804"/>
                </a:lnTo>
                <a:lnTo>
                  <a:pt x="198008" y="687494"/>
                </a:lnTo>
                <a:lnTo>
                  <a:pt x="202927" y="689953"/>
                </a:lnTo>
                <a:lnTo>
                  <a:pt x="209077" y="689953"/>
                </a:lnTo>
                <a:lnTo>
                  <a:pt x="260731" y="689953"/>
                </a:lnTo>
                <a:lnTo>
                  <a:pt x="260731" y="825238"/>
                </a:lnTo>
                <a:lnTo>
                  <a:pt x="261961" y="828928"/>
                </a:lnTo>
                <a:lnTo>
                  <a:pt x="263191" y="832618"/>
                </a:lnTo>
                <a:lnTo>
                  <a:pt x="264421" y="836307"/>
                </a:lnTo>
                <a:lnTo>
                  <a:pt x="266880" y="839997"/>
                </a:lnTo>
                <a:lnTo>
                  <a:pt x="270570" y="842457"/>
                </a:lnTo>
                <a:lnTo>
                  <a:pt x="274260" y="844916"/>
                </a:lnTo>
                <a:lnTo>
                  <a:pt x="277949" y="846146"/>
                </a:lnTo>
                <a:lnTo>
                  <a:pt x="282869" y="846146"/>
                </a:lnTo>
                <a:lnTo>
                  <a:pt x="286558" y="846146"/>
                </a:lnTo>
                <a:lnTo>
                  <a:pt x="290248" y="844916"/>
                </a:lnTo>
                <a:lnTo>
                  <a:pt x="293937" y="842457"/>
                </a:lnTo>
                <a:lnTo>
                  <a:pt x="297627" y="839997"/>
                </a:lnTo>
                <a:lnTo>
                  <a:pt x="300087" y="836307"/>
                </a:lnTo>
                <a:lnTo>
                  <a:pt x="302546" y="832618"/>
                </a:lnTo>
                <a:lnTo>
                  <a:pt x="303776" y="828928"/>
                </a:lnTo>
                <a:lnTo>
                  <a:pt x="303776" y="825238"/>
                </a:lnTo>
                <a:lnTo>
                  <a:pt x="303776" y="689953"/>
                </a:lnTo>
                <a:lnTo>
                  <a:pt x="330833" y="689953"/>
                </a:lnTo>
                <a:lnTo>
                  <a:pt x="330833" y="825238"/>
                </a:lnTo>
                <a:lnTo>
                  <a:pt x="332063" y="828928"/>
                </a:lnTo>
                <a:lnTo>
                  <a:pt x="333293" y="832618"/>
                </a:lnTo>
                <a:lnTo>
                  <a:pt x="334523" y="836307"/>
                </a:lnTo>
                <a:lnTo>
                  <a:pt x="336983" y="839997"/>
                </a:lnTo>
                <a:lnTo>
                  <a:pt x="340672" y="842457"/>
                </a:lnTo>
                <a:lnTo>
                  <a:pt x="344362" y="844916"/>
                </a:lnTo>
                <a:lnTo>
                  <a:pt x="348052" y="846146"/>
                </a:lnTo>
                <a:lnTo>
                  <a:pt x="352971" y="846146"/>
                </a:lnTo>
                <a:lnTo>
                  <a:pt x="356661" y="846146"/>
                </a:lnTo>
                <a:lnTo>
                  <a:pt x="361580" y="844916"/>
                </a:lnTo>
                <a:lnTo>
                  <a:pt x="364040" y="842457"/>
                </a:lnTo>
                <a:lnTo>
                  <a:pt x="367729" y="839997"/>
                </a:lnTo>
                <a:lnTo>
                  <a:pt x="370189" y="836307"/>
                </a:lnTo>
                <a:lnTo>
                  <a:pt x="372649" y="832618"/>
                </a:lnTo>
                <a:lnTo>
                  <a:pt x="373879" y="828928"/>
                </a:lnTo>
                <a:lnTo>
                  <a:pt x="373879" y="825238"/>
                </a:lnTo>
                <a:lnTo>
                  <a:pt x="373879" y="689953"/>
                </a:lnTo>
                <a:lnTo>
                  <a:pt x="423073" y="689953"/>
                </a:lnTo>
                <a:lnTo>
                  <a:pt x="427993" y="689953"/>
                </a:lnTo>
                <a:lnTo>
                  <a:pt x="432912" y="687494"/>
                </a:lnTo>
                <a:lnTo>
                  <a:pt x="437832" y="683804"/>
                </a:lnTo>
                <a:lnTo>
                  <a:pt x="441521" y="680115"/>
                </a:lnTo>
                <a:lnTo>
                  <a:pt x="443981" y="675195"/>
                </a:lnTo>
                <a:lnTo>
                  <a:pt x="443981" y="670276"/>
                </a:lnTo>
                <a:lnTo>
                  <a:pt x="443981" y="664126"/>
                </a:lnTo>
                <a:lnTo>
                  <a:pt x="442751" y="659207"/>
                </a:lnTo>
                <a:lnTo>
                  <a:pt x="334523" y="443981"/>
                </a:lnTo>
                <a:lnTo>
                  <a:pt x="332063" y="439061"/>
                </a:lnTo>
                <a:lnTo>
                  <a:pt x="327144" y="435372"/>
                </a:lnTo>
                <a:lnTo>
                  <a:pt x="322224" y="432912"/>
                </a:lnTo>
                <a:lnTo>
                  <a:pt x="316075" y="431682"/>
                </a:lnTo>
                <a:close/>
                <a:moveTo>
                  <a:pt x="307466" y="241053"/>
                </a:moveTo>
                <a:lnTo>
                  <a:pt x="298857" y="242283"/>
                </a:lnTo>
                <a:lnTo>
                  <a:pt x="291478" y="244743"/>
                </a:lnTo>
                <a:lnTo>
                  <a:pt x="282869" y="247202"/>
                </a:lnTo>
                <a:lnTo>
                  <a:pt x="275489" y="250892"/>
                </a:lnTo>
                <a:lnTo>
                  <a:pt x="269340" y="254582"/>
                </a:lnTo>
                <a:lnTo>
                  <a:pt x="261961" y="259501"/>
                </a:lnTo>
                <a:lnTo>
                  <a:pt x="257041" y="265650"/>
                </a:lnTo>
                <a:lnTo>
                  <a:pt x="250892" y="271800"/>
                </a:lnTo>
                <a:lnTo>
                  <a:pt x="245973" y="277949"/>
                </a:lnTo>
                <a:lnTo>
                  <a:pt x="242283" y="284098"/>
                </a:lnTo>
                <a:lnTo>
                  <a:pt x="238593" y="291478"/>
                </a:lnTo>
                <a:lnTo>
                  <a:pt x="236134" y="300087"/>
                </a:lnTo>
                <a:lnTo>
                  <a:pt x="233674" y="307466"/>
                </a:lnTo>
                <a:lnTo>
                  <a:pt x="232444" y="316075"/>
                </a:lnTo>
                <a:lnTo>
                  <a:pt x="232444" y="324684"/>
                </a:lnTo>
                <a:lnTo>
                  <a:pt x="232444" y="333293"/>
                </a:lnTo>
                <a:lnTo>
                  <a:pt x="233674" y="341902"/>
                </a:lnTo>
                <a:lnTo>
                  <a:pt x="236134" y="349281"/>
                </a:lnTo>
                <a:lnTo>
                  <a:pt x="238593" y="356661"/>
                </a:lnTo>
                <a:lnTo>
                  <a:pt x="242283" y="364040"/>
                </a:lnTo>
                <a:lnTo>
                  <a:pt x="245973" y="371419"/>
                </a:lnTo>
                <a:lnTo>
                  <a:pt x="250892" y="377568"/>
                </a:lnTo>
                <a:lnTo>
                  <a:pt x="257041" y="383718"/>
                </a:lnTo>
                <a:lnTo>
                  <a:pt x="261961" y="388637"/>
                </a:lnTo>
                <a:lnTo>
                  <a:pt x="269340" y="393557"/>
                </a:lnTo>
                <a:lnTo>
                  <a:pt x="275489" y="398476"/>
                </a:lnTo>
                <a:lnTo>
                  <a:pt x="282869" y="402166"/>
                </a:lnTo>
                <a:lnTo>
                  <a:pt x="291478" y="404626"/>
                </a:lnTo>
                <a:lnTo>
                  <a:pt x="298857" y="407085"/>
                </a:lnTo>
                <a:lnTo>
                  <a:pt x="307466" y="408315"/>
                </a:lnTo>
                <a:lnTo>
                  <a:pt x="316075" y="408315"/>
                </a:lnTo>
                <a:lnTo>
                  <a:pt x="324684" y="408315"/>
                </a:lnTo>
                <a:lnTo>
                  <a:pt x="332063" y="407085"/>
                </a:lnTo>
                <a:lnTo>
                  <a:pt x="340672" y="404626"/>
                </a:lnTo>
                <a:lnTo>
                  <a:pt x="348052" y="402166"/>
                </a:lnTo>
                <a:lnTo>
                  <a:pt x="355431" y="398476"/>
                </a:lnTo>
                <a:lnTo>
                  <a:pt x="362810" y="393557"/>
                </a:lnTo>
                <a:lnTo>
                  <a:pt x="368959" y="388637"/>
                </a:lnTo>
                <a:lnTo>
                  <a:pt x="375109" y="383718"/>
                </a:lnTo>
                <a:lnTo>
                  <a:pt x="380028" y="377568"/>
                </a:lnTo>
                <a:lnTo>
                  <a:pt x="384948" y="371419"/>
                </a:lnTo>
                <a:lnTo>
                  <a:pt x="389867" y="364040"/>
                </a:lnTo>
                <a:lnTo>
                  <a:pt x="392327" y="356661"/>
                </a:lnTo>
                <a:lnTo>
                  <a:pt x="396016" y="349281"/>
                </a:lnTo>
                <a:lnTo>
                  <a:pt x="397246" y="341902"/>
                </a:lnTo>
                <a:lnTo>
                  <a:pt x="398476" y="333293"/>
                </a:lnTo>
                <a:lnTo>
                  <a:pt x="399706" y="324684"/>
                </a:lnTo>
                <a:lnTo>
                  <a:pt x="398476" y="316075"/>
                </a:lnTo>
                <a:lnTo>
                  <a:pt x="397246" y="307466"/>
                </a:lnTo>
                <a:lnTo>
                  <a:pt x="396016" y="300087"/>
                </a:lnTo>
                <a:lnTo>
                  <a:pt x="392327" y="291478"/>
                </a:lnTo>
                <a:lnTo>
                  <a:pt x="389867" y="284098"/>
                </a:lnTo>
                <a:lnTo>
                  <a:pt x="384948" y="277949"/>
                </a:lnTo>
                <a:lnTo>
                  <a:pt x="380028" y="271800"/>
                </a:lnTo>
                <a:lnTo>
                  <a:pt x="375109" y="265650"/>
                </a:lnTo>
                <a:lnTo>
                  <a:pt x="368959" y="259501"/>
                </a:lnTo>
                <a:lnTo>
                  <a:pt x="362810" y="254582"/>
                </a:lnTo>
                <a:lnTo>
                  <a:pt x="355431" y="250892"/>
                </a:lnTo>
                <a:lnTo>
                  <a:pt x="348052" y="247202"/>
                </a:lnTo>
                <a:lnTo>
                  <a:pt x="340672" y="244743"/>
                </a:lnTo>
                <a:lnTo>
                  <a:pt x="332063"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8653" y="158653"/>
                </a:lnTo>
                <a:lnTo>
                  <a:pt x="178330" y="141435"/>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140"/>
          <p:cNvSpPr>
            <a:spLocks/>
          </p:cNvSpPr>
          <p:nvPr userDrawn="1"/>
        </p:nvSpPr>
        <p:spPr bwMode="auto">
          <a:xfrm>
            <a:off x="4700206"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3203 w 1087200"/>
              <a:gd name="T7" fmla="*/ 644449 h 1087200"/>
              <a:gd name="T8" fmla="*/ 950685 w 1087200"/>
              <a:gd name="T9" fmla="*/ 542371 h 1087200"/>
              <a:gd name="T10" fmla="*/ 948225 w 1087200"/>
              <a:gd name="T11" fmla="*/ 466119 h 1087200"/>
              <a:gd name="T12" fmla="*/ 546060 w 1087200"/>
              <a:gd name="T13" fmla="*/ 447671 h 1087200"/>
              <a:gd name="T14" fmla="*/ 598944 w 1087200"/>
              <a:gd name="T15" fmla="*/ 447671 h 1087200"/>
              <a:gd name="T16" fmla="*/ 689954 w 1087200"/>
              <a:gd name="T17" fmla="*/ 457510 h 1087200"/>
              <a:gd name="T18" fmla="*/ 666586 w 1087200"/>
              <a:gd name="T19" fmla="*/ 520233 h 1087200"/>
              <a:gd name="T20" fmla="*/ 681345 w 1087200"/>
              <a:gd name="T21" fmla="*/ 627231 h 1087200"/>
              <a:gd name="T22" fmla="*/ 728079 w 1087200"/>
              <a:gd name="T23" fmla="*/ 646909 h 1087200"/>
              <a:gd name="T24" fmla="*/ 772355 w 1087200"/>
              <a:gd name="T25" fmla="*/ 644449 h 1087200"/>
              <a:gd name="T26" fmla="*/ 762516 w 1087200"/>
              <a:gd name="T27" fmla="*/ 595255 h 1087200"/>
              <a:gd name="T28" fmla="*/ 736689 w 1087200"/>
              <a:gd name="T29" fmla="*/ 618622 h 1087200"/>
              <a:gd name="T30" fmla="*/ 709632 w 1087200"/>
              <a:gd name="T31" fmla="*/ 573117 h 1087200"/>
              <a:gd name="T32" fmla="*/ 723160 w 1087200"/>
              <a:gd name="T33" fmla="*/ 477188 h 1087200"/>
              <a:gd name="T34" fmla="*/ 757596 w 1087200"/>
              <a:gd name="T35" fmla="*/ 488256 h 1087200"/>
              <a:gd name="T36" fmla="*/ 785883 w 1087200"/>
              <a:gd name="T37" fmla="*/ 459969 h 1087200"/>
              <a:gd name="T38" fmla="*/ 227525 w 1087200"/>
              <a:gd name="T39" fmla="*/ 437832 h 1087200"/>
              <a:gd name="T40" fmla="*/ 210307 w 1087200"/>
              <a:gd name="T41" fmla="*/ 458740 h 1087200"/>
              <a:gd name="T42" fmla="*/ 223836 w 1087200"/>
              <a:gd name="T43" fmla="*/ 646909 h 1087200"/>
              <a:gd name="T44" fmla="*/ 264421 w 1087200"/>
              <a:gd name="T45" fmla="*/ 836308 h 1087200"/>
              <a:gd name="T46" fmla="*/ 290249 w 1087200"/>
              <a:gd name="T47" fmla="*/ 844917 h 1087200"/>
              <a:gd name="T48" fmla="*/ 303777 w 1087200"/>
              <a:gd name="T49" fmla="*/ 648139 h 1087200"/>
              <a:gd name="T50" fmla="*/ 340673 w 1087200"/>
              <a:gd name="T51" fmla="*/ 842458 h 1087200"/>
              <a:gd name="T52" fmla="*/ 367730 w 1087200"/>
              <a:gd name="T53" fmla="*/ 839998 h 1087200"/>
              <a:gd name="T54" fmla="*/ 403396 w 1087200"/>
              <a:gd name="T55" fmla="*/ 648139 h 1087200"/>
              <a:gd name="T56" fmla="*/ 420614 w 1087200"/>
              <a:gd name="T57" fmla="*/ 626001 h 1087200"/>
              <a:gd name="T58" fmla="*/ 407086 w 1087200"/>
              <a:gd name="T59" fmla="*/ 439062 h 1087200"/>
              <a:gd name="T60" fmla="*/ 291478 w 1087200"/>
              <a:gd name="T61" fmla="*/ 244743 h 1087200"/>
              <a:gd name="T62" fmla="*/ 245973 w 1087200"/>
              <a:gd name="T63" fmla="*/ 277949 h 1087200"/>
              <a:gd name="T64" fmla="*/ 232444 w 1087200"/>
              <a:gd name="T65" fmla="*/ 333293 h 1087200"/>
              <a:gd name="T66" fmla="*/ 257042 w 1087200"/>
              <a:gd name="T67" fmla="*/ 383718 h 1087200"/>
              <a:gd name="T68" fmla="*/ 307466 w 1087200"/>
              <a:gd name="T69" fmla="*/ 408315 h 1087200"/>
              <a:gd name="T70" fmla="*/ 362810 w 1087200"/>
              <a:gd name="T71" fmla="*/ 393557 h 1087200"/>
              <a:gd name="T72" fmla="*/ 396017 w 1087200"/>
              <a:gd name="T73" fmla="*/ 349281 h 1087200"/>
              <a:gd name="T74" fmla="*/ 392327 w 1087200"/>
              <a:gd name="T75" fmla="*/ 291478 h 1087200"/>
              <a:gd name="T76" fmla="*/ 355431 w 1087200"/>
              <a:gd name="T77" fmla="*/ 250892 h 1087200"/>
              <a:gd name="T78" fmla="*/ 515313 w 1087200"/>
              <a:gd name="T79" fmla="*/ 0 h 1087200"/>
              <a:gd name="T80" fmla="*/ 705942 w 1087200"/>
              <a:gd name="T81" fmla="*/ 24597 h 1087200"/>
              <a:gd name="T82" fmla="*/ 869514 w 1087200"/>
              <a:gd name="T83" fmla="*/ 108228 h 1087200"/>
              <a:gd name="T84" fmla="*/ 994960 w 1087200"/>
              <a:gd name="T85" fmla="*/ 239824 h 1087200"/>
              <a:gd name="T86" fmla="*/ 1069982 w 1087200"/>
              <a:gd name="T87" fmla="*/ 407085 h 1087200"/>
              <a:gd name="T88" fmla="*/ 1084740 w 1087200"/>
              <a:gd name="T89" fmla="*/ 598944 h 1087200"/>
              <a:gd name="T90" fmla="*/ 1034316 w 1087200"/>
              <a:gd name="T91" fmla="*/ 779734 h 1087200"/>
              <a:gd name="T92" fmla="*/ 928548 w 1087200"/>
              <a:gd name="T93" fmla="*/ 928548 h 1087200"/>
              <a:gd name="T94" fmla="*/ 779734 w 1087200"/>
              <a:gd name="T95" fmla="*/ 1033086 h 1087200"/>
              <a:gd name="T96" fmla="*/ 598944 w 1087200"/>
              <a:gd name="T97" fmla="*/ 1084740 h 1087200"/>
              <a:gd name="T98" fmla="*/ 408315 w 1087200"/>
              <a:gd name="T99" fmla="*/ 1069982 h 1087200"/>
              <a:gd name="T100" fmla="*/ 239824 w 1087200"/>
              <a:gd name="T101" fmla="*/ 994960 h 1087200"/>
              <a:gd name="T102" fmla="*/ 108228 w 1087200"/>
              <a:gd name="T103" fmla="*/ 868284 h 1087200"/>
              <a:gd name="T104" fmla="*/ 24598 w 1087200"/>
              <a:gd name="T105" fmla="*/ 704712 h 1087200"/>
              <a:gd name="T106" fmla="*/ 1230 w 1087200"/>
              <a:gd name="T107" fmla="*/ 515313 h 1087200"/>
              <a:gd name="T108" fmla="*/ 43045 w 1087200"/>
              <a:gd name="T109" fmla="*/ 332063 h 1087200"/>
              <a:gd name="T110" fmla="*/ 141435 w 1087200"/>
              <a:gd name="T111" fmla="*/ 178330 h 1087200"/>
              <a:gd name="T112" fmla="*/ 284099 w 1087200"/>
              <a:gd name="T113" fmla="*/ 65183 h 1087200"/>
              <a:gd name="T114" fmla="*/ 461199 w 1087200"/>
              <a:gd name="T11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227525" y="437832"/>
                </a:moveTo>
                <a:lnTo>
                  <a:pt x="223836" y="439062"/>
                </a:lnTo>
                <a:lnTo>
                  <a:pt x="220146" y="441522"/>
                </a:lnTo>
                <a:lnTo>
                  <a:pt x="216457" y="443981"/>
                </a:lnTo>
                <a:lnTo>
                  <a:pt x="213997" y="447671"/>
                </a:lnTo>
                <a:lnTo>
                  <a:pt x="212767" y="451361"/>
                </a:lnTo>
                <a:lnTo>
                  <a:pt x="211537" y="455050"/>
                </a:lnTo>
                <a:lnTo>
                  <a:pt x="210307" y="458740"/>
                </a:lnTo>
                <a:lnTo>
                  <a:pt x="210307" y="626001"/>
                </a:lnTo>
                <a:lnTo>
                  <a:pt x="211537" y="630921"/>
                </a:lnTo>
                <a:lnTo>
                  <a:pt x="212767" y="634610"/>
                </a:lnTo>
                <a:lnTo>
                  <a:pt x="213997" y="638300"/>
                </a:lnTo>
                <a:lnTo>
                  <a:pt x="216457" y="641990"/>
                </a:lnTo>
                <a:lnTo>
                  <a:pt x="220146" y="644449"/>
                </a:lnTo>
                <a:lnTo>
                  <a:pt x="223836" y="646909"/>
                </a:lnTo>
                <a:lnTo>
                  <a:pt x="227525" y="648139"/>
                </a:lnTo>
                <a:lnTo>
                  <a:pt x="232445" y="648139"/>
                </a:lnTo>
                <a:lnTo>
                  <a:pt x="260732" y="648139"/>
                </a:lnTo>
                <a:lnTo>
                  <a:pt x="260732" y="825239"/>
                </a:lnTo>
                <a:lnTo>
                  <a:pt x="261962" y="828929"/>
                </a:lnTo>
                <a:lnTo>
                  <a:pt x="263191" y="832619"/>
                </a:lnTo>
                <a:lnTo>
                  <a:pt x="264421" y="836308"/>
                </a:lnTo>
                <a:lnTo>
                  <a:pt x="266881" y="839998"/>
                </a:lnTo>
                <a:lnTo>
                  <a:pt x="270571" y="842458"/>
                </a:lnTo>
                <a:lnTo>
                  <a:pt x="274260" y="844917"/>
                </a:lnTo>
                <a:lnTo>
                  <a:pt x="277950" y="846147"/>
                </a:lnTo>
                <a:lnTo>
                  <a:pt x="282869" y="846147"/>
                </a:lnTo>
                <a:lnTo>
                  <a:pt x="286559" y="846147"/>
                </a:lnTo>
                <a:lnTo>
                  <a:pt x="290249" y="844917"/>
                </a:lnTo>
                <a:lnTo>
                  <a:pt x="293938" y="842458"/>
                </a:lnTo>
                <a:lnTo>
                  <a:pt x="297628" y="839998"/>
                </a:lnTo>
                <a:lnTo>
                  <a:pt x="300087" y="836308"/>
                </a:lnTo>
                <a:lnTo>
                  <a:pt x="302547" y="832619"/>
                </a:lnTo>
                <a:lnTo>
                  <a:pt x="303777" y="828929"/>
                </a:lnTo>
                <a:lnTo>
                  <a:pt x="303777" y="825239"/>
                </a:lnTo>
                <a:lnTo>
                  <a:pt x="303777" y="648139"/>
                </a:lnTo>
                <a:lnTo>
                  <a:pt x="330834" y="648139"/>
                </a:lnTo>
                <a:lnTo>
                  <a:pt x="330834" y="825239"/>
                </a:lnTo>
                <a:lnTo>
                  <a:pt x="332064" y="828929"/>
                </a:lnTo>
                <a:lnTo>
                  <a:pt x="333294" y="832619"/>
                </a:lnTo>
                <a:lnTo>
                  <a:pt x="334524" y="836308"/>
                </a:lnTo>
                <a:lnTo>
                  <a:pt x="336983" y="839998"/>
                </a:lnTo>
                <a:lnTo>
                  <a:pt x="340673" y="842458"/>
                </a:lnTo>
                <a:lnTo>
                  <a:pt x="344363" y="844917"/>
                </a:lnTo>
                <a:lnTo>
                  <a:pt x="348052" y="846147"/>
                </a:lnTo>
                <a:lnTo>
                  <a:pt x="352972" y="846147"/>
                </a:lnTo>
                <a:lnTo>
                  <a:pt x="356661" y="846147"/>
                </a:lnTo>
                <a:lnTo>
                  <a:pt x="361581" y="844917"/>
                </a:lnTo>
                <a:lnTo>
                  <a:pt x="364040" y="842458"/>
                </a:lnTo>
                <a:lnTo>
                  <a:pt x="367730" y="839998"/>
                </a:lnTo>
                <a:lnTo>
                  <a:pt x="370190" y="836308"/>
                </a:lnTo>
                <a:lnTo>
                  <a:pt x="372649" y="832619"/>
                </a:lnTo>
                <a:lnTo>
                  <a:pt x="373879" y="828929"/>
                </a:lnTo>
                <a:lnTo>
                  <a:pt x="373879" y="825239"/>
                </a:lnTo>
                <a:lnTo>
                  <a:pt x="373879" y="648139"/>
                </a:lnTo>
                <a:lnTo>
                  <a:pt x="399707" y="648139"/>
                </a:lnTo>
                <a:lnTo>
                  <a:pt x="403396" y="648139"/>
                </a:lnTo>
                <a:lnTo>
                  <a:pt x="407086" y="646909"/>
                </a:lnTo>
                <a:lnTo>
                  <a:pt x="410775" y="644449"/>
                </a:lnTo>
                <a:lnTo>
                  <a:pt x="414465" y="641990"/>
                </a:lnTo>
                <a:lnTo>
                  <a:pt x="416925" y="638300"/>
                </a:lnTo>
                <a:lnTo>
                  <a:pt x="419384" y="634610"/>
                </a:lnTo>
                <a:lnTo>
                  <a:pt x="420614" y="630921"/>
                </a:lnTo>
                <a:lnTo>
                  <a:pt x="420614" y="626001"/>
                </a:lnTo>
                <a:lnTo>
                  <a:pt x="420614" y="458740"/>
                </a:lnTo>
                <a:lnTo>
                  <a:pt x="420614" y="455050"/>
                </a:lnTo>
                <a:lnTo>
                  <a:pt x="419384" y="451361"/>
                </a:lnTo>
                <a:lnTo>
                  <a:pt x="416925" y="447671"/>
                </a:lnTo>
                <a:lnTo>
                  <a:pt x="414465" y="443981"/>
                </a:lnTo>
                <a:lnTo>
                  <a:pt x="410775" y="441522"/>
                </a:lnTo>
                <a:lnTo>
                  <a:pt x="407086" y="439062"/>
                </a:lnTo>
                <a:lnTo>
                  <a:pt x="403396" y="437832"/>
                </a:lnTo>
                <a:lnTo>
                  <a:pt x="399707" y="437832"/>
                </a:lnTo>
                <a:lnTo>
                  <a:pt x="232445" y="437832"/>
                </a:lnTo>
                <a:lnTo>
                  <a:pt x="227525" y="437832"/>
                </a:lnTo>
                <a:close/>
                <a:moveTo>
                  <a:pt x="307466" y="241053"/>
                </a:moveTo>
                <a:lnTo>
                  <a:pt x="298857" y="242283"/>
                </a:lnTo>
                <a:lnTo>
                  <a:pt x="291478" y="244743"/>
                </a:lnTo>
                <a:lnTo>
                  <a:pt x="282869" y="247202"/>
                </a:lnTo>
                <a:lnTo>
                  <a:pt x="275490" y="250892"/>
                </a:lnTo>
                <a:lnTo>
                  <a:pt x="269340" y="254582"/>
                </a:lnTo>
                <a:lnTo>
                  <a:pt x="261961" y="259501"/>
                </a:lnTo>
                <a:lnTo>
                  <a:pt x="257042" y="265650"/>
                </a:lnTo>
                <a:lnTo>
                  <a:pt x="250892" y="271800"/>
                </a:lnTo>
                <a:lnTo>
                  <a:pt x="245973" y="277949"/>
                </a:lnTo>
                <a:lnTo>
                  <a:pt x="242283" y="284098"/>
                </a:lnTo>
                <a:lnTo>
                  <a:pt x="238594" y="291478"/>
                </a:lnTo>
                <a:lnTo>
                  <a:pt x="236134" y="300087"/>
                </a:lnTo>
                <a:lnTo>
                  <a:pt x="233674" y="307466"/>
                </a:lnTo>
                <a:lnTo>
                  <a:pt x="232444" y="316075"/>
                </a:lnTo>
                <a:lnTo>
                  <a:pt x="232444" y="324684"/>
                </a:lnTo>
                <a:lnTo>
                  <a:pt x="232444" y="333293"/>
                </a:lnTo>
                <a:lnTo>
                  <a:pt x="233674" y="341902"/>
                </a:lnTo>
                <a:lnTo>
                  <a:pt x="236134" y="349281"/>
                </a:lnTo>
                <a:lnTo>
                  <a:pt x="238594" y="356661"/>
                </a:lnTo>
                <a:lnTo>
                  <a:pt x="242283" y="364040"/>
                </a:lnTo>
                <a:lnTo>
                  <a:pt x="245973" y="371419"/>
                </a:lnTo>
                <a:lnTo>
                  <a:pt x="250892" y="377568"/>
                </a:lnTo>
                <a:lnTo>
                  <a:pt x="257042" y="383718"/>
                </a:lnTo>
                <a:lnTo>
                  <a:pt x="261961" y="388637"/>
                </a:lnTo>
                <a:lnTo>
                  <a:pt x="269340" y="393557"/>
                </a:lnTo>
                <a:lnTo>
                  <a:pt x="275490" y="398476"/>
                </a:lnTo>
                <a:lnTo>
                  <a:pt x="282869" y="402166"/>
                </a:lnTo>
                <a:lnTo>
                  <a:pt x="291478" y="404626"/>
                </a:lnTo>
                <a:lnTo>
                  <a:pt x="298857" y="407085"/>
                </a:lnTo>
                <a:lnTo>
                  <a:pt x="307466" y="408315"/>
                </a:lnTo>
                <a:lnTo>
                  <a:pt x="316075" y="408315"/>
                </a:lnTo>
                <a:lnTo>
                  <a:pt x="324684" y="408315"/>
                </a:lnTo>
                <a:lnTo>
                  <a:pt x="332064" y="407085"/>
                </a:lnTo>
                <a:lnTo>
                  <a:pt x="340673" y="404626"/>
                </a:lnTo>
                <a:lnTo>
                  <a:pt x="348052" y="402166"/>
                </a:lnTo>
                <a:lnTo>
                  <a:pt x="355431" y="398476"/>
                </a:lnTo>
                <a:lnTo>
                  <a:pt x="362810" y="393557"/>
                </a:lnTo>
                <a:lnTo>
                  <a:pt x="368960" y="388637"/>
                </a:lnTo>
                <a:lnTo>
                  <a:pt x="375109" y="383718"/>
                </a:lnTo>
                <a:lnTo>
                  <a:pt x="380028" y="377568"/>
                </a:lnTo>
                <a:lnTo>
                  <a:pt x="384948" y="371419"/>
                </a:lnTo>
                <a:lnTo>
                  <a:pt x="389867" y="364040"/>
                </a:lnTo>
                <a:lnTo>
                  <a:pt x="392327" y="356661"/>
                </a:lnTo>
                <a:lnTo>
                  <a:pt x="396017" y="349281"/>
                </a:lnTo>
                <a:lnTo>
                  <a:pt x="397247" y="341902"/>
                </a:lnTo>
                <a:lnTo>
                  <a:pt x="398476" y="333293"/>
                </a:lnTo>
                <a:lnTo>
                  <a:pt x="399706" y="324684"/>
                </a:lnTo>
                <a:lnTo>
                  <a:pt x="398476" y="316075"/>
                </a:lnTo>
                <a:lnTo>
                  <a:pt x="397247" y="307466"/>
                </a:lnTo>
                <a:lnTo>
                  <a:pt x="396017" y="300087"/>
                </a:lnTo>
                <a:lnTo>
                  <a:pt x="392327" y="291478"/>
                </a:lnTo>
                <a:lnTo>
                  <a:pt x="389867" y="284098"/>
                </a:lnTo>
                <a:lnTo>
                  <a:pt x="384948" y="277949"/>
                </a:lnTo>
                <a:lnTo>
                  <a:pt x="380028" y="271800"/>
                </a:lnTo>
                <a:lnTo>
                  <a:pt x="375109" y="265650"/>
                </a:lnTo>
                <a:lnTo>
                  <a:pt x="368960" y="259501"/>
                </a:lnTo>
                <a:lnTo>
                  <a:pt x="362810" y="254582"/>
                </a:lnTo>
                <a:lnTo>
                  <a:pt x="355431" y="250892"/>
                </a:lnTo>
                <a:lnTo>
                  <a:pt x="348052" y="247202"/>
                </a:lnTo>
                <a:lnTo>
                  <a:pt x="340673" y="244743"/>
                </a:lnTo>
                <a:lnTo>
                  <a:pt x="332064"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6177509" y="3970395"/>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9138179" y="5072554"/>
            <a:ext cx="1071564"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9132115" y="3970395"/>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3224679" y="5413253"/>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268297" y="5413253"/>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0609418" y="3970395"/>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1746488" y="5413253"/>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12086719" y="3970395"/>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0646068" y="5072587"/>
            <a:ext cx="101320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12081342" y="5073961"/>
            <a:ext cx="109625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209337" y="6515438"/>
            <a:ext cx="120571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1745600" y="6512650"/>
            <a:ext cx="108720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3234935" y="6519822"/>
            <a:ext cx="1073428"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6186001" y="6512178"/>
            <a:ext cx="1076794"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6181059" y="5413253"/>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4707956" y="6518564"/>
            <a:ext cx="107837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4702870" y="5413253"/>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cxnSp>
        <p:nvCxnSpPr>
          <p:cNvPr id="102" name="Straight Connector 101"/>
          <p:cNvCxnSpPr/>
          <p:nvPr userDrawn="1"/>
        </p:nvCxnSpPr>
        <p:spPr>
          <a:xfrm>
            <a:off x="0" y="714271"/>
            <a:ext cx="3743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4" name="Picture 10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5" name="TextBox 104"/>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MISCELLANEOU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231337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5" name="Pictur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191582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9" name="Picture 1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180947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604364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6443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8190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6"/>
          <p:cNvSpPr>
            <a:spLocks noGrp="1"/>
          </p:cNvSpPr>
          <p:nvPr>
            <p:ph type="body" sz="quarter" idx="10" hasCustomPrompt="1"/>
          </p:nvPr>
        </p:nvSpPr>
        <p:spPr>
          <a:xfrm>
            <a:off x="233363" y="2937131"/>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1" name="Text Placeholder 21"/>
          <p:cNvSpPr>
            <a:spLocks noGrp="1"/>
          </p:cNvSpPr>
          <p:nvPr>
            <p:ph type="body" sz="quarter" idx="13" hasCustomPrompt="1"/>
          </p:nvPr>
        </p:nvSpPr>
        <p:spPr>
          <a:xfrm>
            <a:off x="233363" y="3837130"/>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6" name="Picture Placeholder 15"/>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177631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021513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181686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751229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1463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6553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69718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420386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245359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9055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2055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8"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372295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986732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135384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0426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16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05688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9189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597764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1524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977110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700267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777609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508879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4157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806722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844690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67976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287331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33372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
        <p:nvSpPr>
          <p:cNvPr id="6" name="Text Placeholder 5"/>
          <p:cNvSpPr>
            <a:spLocks noGrp="1"/>
          </p:cNvSpPr>
          <p:nvPr>
            <p:ph type="body" sz="quarter" idx="10" hasCustomPrompt="1"/>
          </p:nvPr>
        </p:nvSpPr>
        <p:spPr>
          <a:xfrm>
            <a:off x="2708275" y="771661"/>
            <a:ext cx="8026400" cy="1231900"/>
          </a:xfrm>
          <a:prstGeom prst="rect">
            <a:avLst/>
          </a:prstGeom>
        </p:spPr>
        <p:txBody>
          <a:bodyPr/>
          <a:lstStyle>
            <a:lvl1pPr algn="ctr">
              <a:lnSpc>
                <a:spcPct val="100000"/>
              </a:lnSpc>
              <a:defRPr sz="7999" baseline="0">
                <a:solidFill>
                  <a:srgbClr val="FB3449"/>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ENTER TEXT</a:t>
            </a:r>
          </a:p>
        </p:txBody>
      </p:sp>
      <p:sp>
        <p:nvSpPr>
          <p:cNvPr id="9" name="Text Placeholder 5"/>
          <p:cNvSpPr>
            <a:spLocks noGrp="1"/>
          </p:cNvSpPr>
          <p:nvPr>
            <p:ph type="body" sz="quarter" idx="11" hasCustomPrompt="1"/>
          </p:nvPr>
        </p:nvSpPr>
        <p:spPr>
          <a:xfrm>
            <a:off x="2708275" y="2484316"/>
            <a:ext cx="8026400" cy="3121479"/>
          </a:xfrm>
          <a:prstGeom prst="rect">
            <a:avLst/>
          </a:prstGeom>
        </p:spPr>
        <p:txBody>
          <a:bodyPr/>
          <a:lstStyle>
            <a:lvl1pPr marL="0" marR="0" indent="0" algn="ctr"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2109115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
        <p:nvSpPr>
          <p:cNvPr id="5" name="Text Placeholder 5"/>
          <p:cNvSpPr>
            <a:spLocks noGrp="1"/>
          </p:cNvSpPr>
          <p:nvPr>
            <p:ph type="body" sz="quarter" idx="10" hasCustomPrompt="1"/>
          </p:nvPr>
        </p:nvSpPr>
        <p:spPr>
          <a:xfrm>
            <a:off x="2708275" y="771661"/>
            <a:ext cx="8026400" cy="1231900"/>
          </a:xfrm>
          <a:prstGeom prst="rect">
            <a:avLst/>
          </a:prstGeom>
        </p:spPr>
        <p:txBody>
          <a:bodyPr/>
          <a:lstStyle>
            <a:lvl1pPr algn="ctr">
              <a:lnSpc>
                <a:spcPct val="100000"/>
              </a:lnSpc>
              <a:defRPr sz="7999" baseline="0">
                <a:solidFill>
                  <a:schemeClr val="bg1"/>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ENTER TEXT</a:t>
            </a:r>
          </a:p>
        </p:txBody>
      </p:sp>
      <p:sp>
        <p:nvSpPr>
          <p:cNvPr id="7" name="Text Placeholder 5"/>
          <p:cNvSpPr>
            <a:spLocks noGrp="1"/>
          </p:cNvSpPr>
          <p:nvPr>
            <p:ph type="body" sz="quarter" idx="11" hasCustomPrompt="1"/>
          </p:nvPr>
        </p:nvSpPr>
        <p:spPr>
          <a:xfrm>
            <a:off x="2708275" y="2484316"/>
            <a:ext cx="8026400" cy="3121479"/>
          </a:xfrm>
          <a:prstGeom prst="rect">
            <a:avLst/>
          </a:prstGeom>
        </p:spPr>
        <p:txBody>
          <a:bodyPr/>
          <a:lstStyle>
            <a:lvl1pPr marL="0" marR="0" indent="0" algn="ctr"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400464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
        <p:nvSpPr>
          <p:cNvPr id="10" name="Text Placeholder 5"/>
          <p:cNvSpPr>
            <a:spLocks noGrp="1"/>
          </p:cNvSpPr>
          <p:nvPr>
            <p:ph type="body" sz="quarter" idx="11" hasCustomPrompt="1"/>
          </p:nvPr>
        </p:nvSpPr>
        <p:spPr>
          <a:xfrm>
            <a:off x="2708275" y="1603846"/>
            <a:ext cx="8026400" cy="3247553"/>
          </a:xfrm>
          <a:prstGeom prst="rect">
            <a:avLst/>
          </a:prstGeom>
        </p:spPr>
        <p:txBody>
          <a:bodyPr/>
          <a:lstStyle>
            <a:lvl1pPr marL="0" marR="0" indent="0" algn="ctr"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963706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59428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
        <p:nvSpPr>
          <p:cNvPr id="9" name="Text Placeholder 5"/>
          <p:cNvSpPr>
            <a:spLocks noGrp="1"/>
          </p:cNvSpPr>
          <p:nvPr>
            <p:ph type="body" sz="quarter" idx="11" hasCustomPrompt="1"/>
          </p:nvPr>
        </p:nvSpPr>
        <p:spPr>
          <a:xfrm>
            <a:off x="2708275" y="1603846"/>
            <a:ext cx="8026400" cy="3247553"/>
          </a:xfrm>
          <a:prstGeom prst="rect">
            <a:avLst/>
          </a:prstGeom>
        </p:spPr>
        <p:txBody>
          <a:bodyPr/>
          <a:lstStyle>
            <a:lvl1pPr marL="0" marR="0" indent="0" algn="ctr"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817251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
        <p:nvSpPr>
          <p:cNvPr id="9" name="Text Placeholder 5"/>
          <p:cNvSpPr>
            <a:spLocks noGrp="1"/>
          </p:cNvSpPr>
          <p:nvPr>
            <p:ph type="body" sz="quarter" idx="11" hasCustomPrompt="1"/>
          </p:nvPr>
        </p:nvSpPr>
        <p:spPr>
          <a:xfrm>
            <a:off x="2708275" y="1603846"/>
            <a:ext cx="8026400" cy="3247553"/>
          </a:xfrm>
          <a:prstGeom prst="rect">
            <a:avLst/>
          </a:prstGeom>
        </p:spPr>
        <p:txBody>
          <a:bodyPr/>
          <a:lstStyle>
            <a:lvl1pPr marL="0" marR="0" indent="0" algn="ctr"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67104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6.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
        <p:nvSpPr>
          <p:cNvPr id="9" name="Text Placeholder 5"/>
          <p:cNvSpPr>
            <a:spLocks noGrp="1"/>
          </p:cNvSpPr>
          <p:nvPr>
            <p:ph type="body" sz="quarter" idx="11" hasCustomPrompt="1"/>
          </p:nvPr>
        </p:nvSpPr>
        <p:spPr>
          <a:xfrm>
            <a:off x="2708275" y="1603846"/>
            <a:ext cx="8026400" cy="3247553"/>
          </a:xfrm>
          <a:prstGeom prst="rect">
            <a:avLst/>
          </a:prstGeom>
        </p:spPr>
        <p:txBody>
          <a:bodyPr/>
          <a:lstStyle>
            <a:lvl1pPr marL="0" marR="0" indent="0" algn="ctr"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2680237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7. Statement slide">
    <p:spTree>
      <p:nvGrpSpPr>
        <p:cNvPr id="1" name=""/>
        <p:cNvGrpSpPr/>
        <p:nvPr/>
      </p:nvGrpSpPr>
      <p:grpSpPr>
        <a:xfrm>
          <a:off x="0" y="0"/>
          <a:ext cx="0" cy="0"/>
          <a:chOff x="0" y="0"/>
          <a:chExt cx="0" cy="0"/>
        </a:xfrm>
      </p:grpSpPr>
      <p:sp>
        <p:nvSpPr>
          <p:cNvPr id="12" name="Rectangle 1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sp>
        <p:nvSpPr>
          <p:cNvPr id="14" name="Text Placeholder 5"/>
          <p:cNvSpPr>
            <a:spLocks noGrp="1"/>
          </p:cNvSpPr>
          <p:nvPr>
            <p:ph type="body" sz="quarter" idx="11" hasCustomPrompt="1"/>
          </p:nvPr>
        </p:nvSpPr>
        <p:spPr>
          <a:xfrm>
            <a:off x="2708275" y="1603846"/>
            <a:ext cx="8026400" cy="3247553"/>
          </a:xfrm>
          <a:prstGeom prst="rect">
            <a:avLst/>
          </a:prstGeom>
        </p:spPr>
        <p:txBody>
          <a:bodyPr/>
          <a:lstStyle>
            <a:lvl1pPr marL="0" marR="0" indent="0" algn="ctr"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chemeClr val="bg1"/>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Tree>
    <p:extLst>
      <p:ext uri="{BB962C8B-B14F-4D97-AF65-F5344CB8AC3E}">
        <p14:creationId xmlns:p14="http://schemas.microsoft.com/office/powerpoint/2010/main" val="3908716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8. Statement slide">
    <p:spTree>
      <p:nvGrpSpPr>
        <p:cNvPr id="1" name=""/>
        <p:cNvGrpSpPr/>
        <p:nvPr/>
      </p:nvGrpSpPr>
      <p:grpSpPr>
        <a:xfrm>
          <a:off x="0" y="0"/>
          <a:ext cx="0" cy="0"/>
          <a:chOff x="0" y="0"/>
          <a:chExt cx="0" cy="0"/>
        </a:xfrm>
      </p:grpSpPr>
      <p:sp>
        <p:nvSpPr>
          <p:cNvPr id="14" name="Text Placeholder 5"/>
          <p:cNvSpPr>
            <a:spLocks noGrp="1"/>
          </p:cNvSpPr>
          <p:nvPr>
            <p:ph type="body" sz="quarter" idx="11" hasCustomPrompt="1"/>
          </p:nvPr>
        </p:nvSpPr>
        <p:spPr>
          <a:xfrm>
            <a:off x="2708275" y="1603846"/>
            <a:ext cx="8026400" cy="3247553"/>
          </a:xfrm>
          <a:prstGeom prst="rect">
            <a:avLst/>
          </a:prstGeom>
        </p:spPr>
        <p:txBody>
          <a:bodyPr/>
          <a:lstStyle>
            <a:lvl1pPr marL="0" marR="0" indent="0" algn="ctr"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chemeClr val="bg1"/>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9879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9.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icon in middle to add pictur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
        <p:nvSpPr>
          <p:cNvPr id="12" name="Text Placeholder 5"/>
          <p:cNvSpPr>
            <a:spLocks noGrp="1"/>
          </p:cNvSpPr>
          <p:nvPr>
            <p:ph type="body" sz="quarter" idx="11" hasCustomPrompt="1"/>
          </p:nvPr>
        </p:nvSpPr>
        <p:spPr>
          <a:xfrm>
            <a:off x="2708275" y="1603846"/>
            <a:ext cx="8026400" cy="3247553"/>
          </a:xfrm>
          <a:prstGeom prst="rect">
            <a:avLst/>
          </a:prstGeom>
        </p:spPr>
        <p:txBody>
          <a:bodyPr/>
          <a:lstStyle>
            <a:lvl1pPr marL="0" marR="0" indent="0" algn="ctr"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cxnSp>
        <p:nvCxnSpPr>
          <p:cNvPr id="13" name="Straight Connector 12"/>
          <p:cNvCxnSpPr/>
          <p:nvPr userDrawn="1"/>
        </p:nvCxnSpPr>
        <p:spPr>
          <a:xfrm>
            <a:off x="4209326" y="5228984"/>
            <a:ext cx="503972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5589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0.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
        <p:nvSpPr>
          <p:cNvPr id="11" name="Text Placeholder 5"/>
          <p:cNvSpPr>
            <a:spLocks noGrp="1"/>
          </p:cNvSpPr>
          <p:nvPr>
            <p:ph type="body" sz="quarter" idx="11" hasCustomPrompt="1"/>
          </p:nvPr>
        </p:nvSpPr>
        <p:spPr>
          <a:xfrm>
            <a:off x="234000" y="234001"/>
            <a:ext cx="8026400" cy="4250915"/>
          </a:xfrm>
          <a:prstGeom prst="rect">
            <a:avLst/>
          </a:prstGeom>
        </p:spPr>
        <p:txBody>
          <a:bodyPr lIns="0" tIns="0" rIns="0" bIns="0"/>
          <a:lstStyle>
            <a:lvl1pPr marL="0" marR="0" indent="0" algn="l"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706" rtl="0" eaLnBrk="1" fontAlgn="auto" latinLnBrk="0" hangingPunct="1">
              <a:lnSpc>
                <a:spcPts val="8499"/>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394732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
        <p:nvSpPr>
          <p:cNvPr id="5" name="Text Placeholder 5"/>
          <p:cNvSpPr>
            <a:spLocks noGrp="1"/>
          </p:cNvSpPr>
          <p:nvPr>
            <p:ph type="body" sz="quarter" idx="11" hasCustomPrompt="1"/>
          </p:nvPr>
        </p:nvSpPr>
        <p:spPr>
          <a:xfrm>
            <a:off x="234000" y="234001"/>
            <a:ext cx="8026400" cy="4250915"/>
          </a:xfrm>
          <a:prstGeom prst="rect">
            <a:avLst/>
          </a:prstGeom>
        </p:spPr>
        <p:txBody>
          <a:bodyPr lIns="0" tIns="0" rIns="0" bIns="0"/>
          <a:lstStyle>
            <a:lvl1pPr marL="0" marR="0" indent="0" algn="l"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706" rtl="0" eaLnBrk="1" fontAlgn="auto" latinLnBrk="0" hangingPunct="1">
              <a:lnSpc>
                <a:spcPts val="8499"/>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36719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
        <p:nvSpPr>
          <p:cNvPr id="5" name="Text Placeholder 5"/>
          <p:cNvSpPr>
            <a:spLocks noGrp="1"/>
          </p:cNvSpPr>
          <p:nvPr>
            <p:ph type="body" sz="quarter" idx="11" hasCustomPrompt="1"/>
          </p:nvPr>
        </p:nvSpPr>
        <p:spPr>
          <a:xfrm>
            <a:off x="234000" y="234001"/>
            <a:ext cx="8026400" cy="4250915"/>
          </a:xfrm>
          <a:prstGeom prst="rect">
            <a:avLst/>
          </a:prstGeom>
        </p:spPr>
        <p:txBody>
          <a:bodyPr lIns="0" tIns="0" rIns="0" bIns="0"/>
          <a:lstStyle>
            <a:lvl1pPr marL="0" marR="0" indent="0" algn="l"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706" rtl="0" eaLnBrk="1" fontAlgn="auto" latinLnBrk="0" hangingPunct="1">
              <a:lnSpc>
                <a:spcPts val="8499"/>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508572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3.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
        <p:nvSpPr>
          <p:cNvPr id="5" name="Text Placeholder 5"/>
          <p:cNvSpPr>
            <a:spLocks noGrp="1"/>
          </p:cNvSpPr>
          <p:nvPr>
            <p:ph type="body" sz="quarter" idx="11" hasCustomPrompt="1"/>
          </p:nvPr>
        </p:nvSpPr>
        <p:spPr>
          <a:xfrm>
            <a:off x="234000" y="234001"/>
            <a:ext cx="8026400" cy="4250915"/>
          </a:xfrm>
          <a:prstGeom prst="rect">
            <a:avLst/>
          </a:prstGeom>
        </p:spPr>
        <p:txBody>
          <a:bodyPr lIns="0" tIns="0" rIns="0" bIns="0"/>
          <a:lstStyle>
            <a:lvl1pPr marL="0" marR="0" indent="0" algn="l"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706" rtl="0" eaLnBrk="1" fontAlgn="auto" latinLnBrk="0" hangingPunct="1">
              <a:lnSpc>
                <a:spcPts val="8499"/>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79626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17839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4.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sp>
        <p:nvSpPr>
          <p:cNvPr id="5" name="Text Placeholder 5"/>
          <p:cNvSpPr>
            <a:spLocks noGrp="1"/>
          </p:cNvSpPr>
          <p:nvPr>
            <p:ph type="body" sz="quarter" idx="11" hasCustomPrompt="1"/>
          </p:nvPr>
        </p:nvSpPr>
        <p:spPr>
          <a:xfrm>
            <a:off x="234000" y="234001"/>
            <a:ext cx="8026400" cy="4250915"/>
          </a:xfrm>
          <a:prstGeom prst="rect">
            <a:avLst/>
          </a:prstGeom>
        </p:spPr>
        <p:txBody>
          <a:bodyPr lIns="0" tIns="0" rIns="0" bIns="0"/>
          <a:lstStyle>
            <a:lvl1pPr marL="0" marR="0" indent="0" algn="l"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chemeClr val="bg1"/>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706" rtl="0" eaLnBrk="1" fontAlgn="auto" latinLnBrk="0" hangingPunct="1">
              <a:lnSpc>
                <a:spcPts val="8499"/>
              </a:lnSpc>
              <a:spcBef>
                <a:spcPts val="0"/>
              </a:spcBef>
              <a:spcAft>
                <a:spcPts val="0"/>
              </a:spcAft>
              <a:buClr>
                <a:srgbClr val="FFFFFF"/>
              </a:buClr>
              <a:buSzPct val="100000"/>
              <a:buFont typeface="Arial"/>
              <a:buNone/>
              <a:tabLst/>
              <a:defRPr/>
            </a:pPr>
            <a:r>
              <a:rPr lang="en-US" dirty="0"/>
              <a:t>STATEMENT TEX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341362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5. Statement slide">
    <p:spTree>
      <p:nvGrpSpPr>
        <p:cNvPr id="1" name=""/>
        <p:cNvGrpSpPr/>
        <p:nvPr/>
      </p:nvGrpSpPr>
      <p:grpSpPr>
        <a:xfrm>
          <a:off x="0" y="0"/>
          <a:ext cx="0" cy="0"/>
          <a:chOff x="0" y="0"/>
          <a:chExt cx="0" cy="0"/>
        </a:xfrm>
      </p:grpSpPr>
      <p:sp>
        <p:nvSpPr>
          <p:cNvPr id="4" name="Text Placeholder 5"/>
          <p:cNvSpPr>
            <a:spLocks noGrp="1"/>
          </p:cNvSpPr>
          <p:nvPr>
            <p:ph type="body" sz="quarter" idx="11" hasCustomPrompt="1"/>
          </p:nvPr>
        </p:nvSpPr>
        <p:spPr>
          <a:xfrm>
            <a:off x="234000" y="234001"/>
            <a:ext cx="8026400" cy="4250915"/>
          </a:xfrm>
          <a:prstGeom prst="rect">
            <a:avLst/>
          </a:prstGeom>
        </p:spPr>
        <p:txBody>
          <a:bodyPr lIns="0" tIns="0" rIns="0" bIns="0"/>
          <a:lstStyle>
            <a:lvl1pPr marL="0" marR="0" indent="0" algn="l"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chemeClr val="bg1"/>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706" rtl="0" eaLnBrk="1" fontAlgn="auto" latinLnBrk="0" hangingPunct="1">
              <a:lnSpc>
                <a:spcPts val="8499"/>
              </a:lnSpc>
              <a:spcBef>
                <a:spcPts val="0"/>
              </a:spcBef>
              <a:spcAft>
                <a:spcPts val="0"/>
              </a:spcAft>
              <a:buClr>
                <a:srgbClr val="FFFFFF"/>
              </a:buClr>
              <a:buSzPct val="100000"/>
              <a:buFont typeface="Arial"/>
              <a:buNone/>
              <a:tabLst/>
              <a:defRPr/>
            </a:pPr>
            <a:r>
              <a:rPr lang="en-US" dirty="0"/>
              <a:t>STATEMENT TEX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803038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6.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
        <p:nvSpPr>
          <p:cNvPr id="5" name="Text Placeholder 5"/>
          <p:cNvSpPr>
            <a:spLocks noGrp="1"/>
          </p:cNvSpPr>
          <p:nvPr>
            <p:ph type="body" sz="quarter" idx="11" hasCustomPrompt="1"/>
          </p:nvPr>
        </p:nvSpPr>
        <p:spPr>
          <a:xfrm>
            <a:off x="234000" y="234001"/>
            <a:ext cx="8026400" cy="4250915"/>
          </a:xfrm>
          <a:prstGeom prst="rect">
            <a:avLst/>
          </a:prstGeom>
        </p:spPr>
        <p:txBody>
          <a:bodyPr lIns="0" tIns="0" rIns="0" bIns="0"/>
          <a:lstStyle>
            <a:lvl1pPr marL="0" marR="0" indent="0" algn="l"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706" rtl="0" eaLnBrk="1" fontAlgn="auto" latinLnBrk="0" hangingPunct="1">
              <a:lnSpc>
                <a:spcPts val="8499"/>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3526278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
        <p:nvSpPr>
          <p:cNvPr id="10"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Tree>
    <p:extLst>
      <p:ext uri="{BB962C8B-B14F-4D97-AF65-F5344CB8AC3E}">
        <p14:creationId xmlns:p14="http://schemas.microsoft.com/office/powerpoint/2010/main" val="83426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134368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4"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6"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9256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 Intro slid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r>
              <a:rPr lang="en-US" dirty="0"/>
              <a:t>Click icon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cxnSp>
        <p:nvCxnSpPr>
          <p:cNvPr id="8" name="Straight Connector 7"/>
          <p:cNvCxnSpPr/>
          <p:nvPr userDrawn="1"/>
        </p:nvCxnSpPr>
        <p:spPr>
          <a:xfrm>
            <a:off x="2955925" y="3064075"/>
            <a:ext cx="75322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rgbClr val="FB3449"/>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9"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94658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8435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7"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1102541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1087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65985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80180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 Statement slide">
    <p:spTree>
      <p:nvGrpSpPr>
        <p:cNvPr id="1" name=""/>
        <p:cNvGrpSpPr/>
        <p:nvPr/>
      </p:nvGrpSpPr>
      <p:grpSpPr>
        <a:xfrm>
          <a:off x="0" y="0"/>
          <a:ext cx="0" cy="0"/>
          <a:chOff x="0" y="0"/>
          <a:chExt cx="0" cy="0"/>
        </a:xfrm>
      </p:grpSpPr>
      <p:sp>
        <p:nvSpPr>
          <p:cNvPr id="12" name="Rectangle 1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2062790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 Statement slide">
    <p:spTree>
      <p:nvGrpSpPr>
        <p:cNvPr id="1" name=""/>
        <p:cNvGrpSpPr/>
        <p:nvPr/>
      </p:nvGrpSpPr>
      <p:grpSpPr>
        <a:xfrm>
          <a:off x="0" y="0"/>
          <a:ext cx="0" cy="0"/>
          <a:chOff x="0" y="0"/>
          <a:chExt cx="0" cy="0"/>
        </a:xfrm>
      </p:grpSpPr>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29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icon in middle to add pictur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2"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cxnSp>
        <p:nvCxnSpPr>
          <p:cNvPr id="13" name="Straight Connector 12"/>
          <p:cNvCxnSpPr/>
          <p:nvPr userDrawn="1"/>
        </p:nvCxnSpPr>
        <p:spPr>
          <a:xfrm>
            <a:off x="4209325" y="5228984"/>
            <a:ext cx="503972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219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1"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6718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70263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03816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46051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41985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7"/>
            <a:ext cx="1671832" cy="362395"/>
          </a:xfrm>
          <a:prstGeom prst="rect">
            <a:avLst/>
          </a:prstGeom>
        </p:spPr>
      </p:pic>
    </p:spTree>
    <p:extLst>
      <p:ext uri="{BB962C8B-B14F-4D97-AF65-F5344CB8AC3E}">
        <p14:creationId xmlns:p14="http://schemas.microsoft.com/office/powerpoint/2010/main" val="750130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 Statement slide">
    <p:spTree>
      <p:nvGrpSpPr>
        <p:cNvPr id="1" name=""/>
        <p:cNvGrpSpPr/>
        <p:nvPr/>
      </p:nvGrpSpPr>
      <p:grpSpPr>
        <a:xfrm>
          <a:off x="0" y="0"/>
          <a:ext cx="0" cy="0"/>
          <a:chOff x="0" y="0"/>
          <a:chExt cx="0" cy="0"/>
        </a:xfrm>
      </p:grpSpPr>
      <p:sp>
        <p:nvSpPr>
          <p:cNvPr id="4"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56994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6.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t>
            </a:r>
            <a:r>
              <a:rPr lang="en-US"/>
              <a:t>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2118308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827852"/>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4507174"/>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5072566"/>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528691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682160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60000"/>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1039322"/>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1604714"/>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2113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60000"/>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1039322"/>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1604714"/>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3418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672120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 name="Picture Placeholder 4"/>
          <p:cNvSpPr>
            <a:spLocks noGrp="1"/>
          </p:cNvSpPr>
          <p:nvPr>
            <p:ph type="pic" sz="quarter" idx="14"/>
          </p:nvPr>
        </p:nvSpPr>
        <p:spPr>
          <a:xfrm>
            <a:off x="6721750" y="0"/>
            <a:ext cx="6721200" cy="3481199"/>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947459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99729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13"/>
          <p:cNvSpPr>
            <a:spLocks noGrp="1"/>
          </p:cNvSpPr>
          <p:nvPr>
            <p:ph type="pic" sz="quarter" idx="14"/>
          </p:nvPr>
        </p:nvSpPr>
        <p:spPr>
          <a:xfrm>
            <a:off x="233362" y="1074271"/>
            <a:ext cx="6746557" cy="6486992"/>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769558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0"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134433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5" name="Text Placeholder 18"/>
          <p:cNvSpPr>
            <a:spLocks noGrp="1"/>
          </p:cNvSpPr>
          <p:nvPr>
            <p:ph type="body" sz="quarter" idx="12" hasCustomPrompt="1"/>
          </p:nvPr>
        </p:nvSpPr>
        <p:spPr>
          <a:xfrm>
            <a:off x="233363"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233363"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13"/>
          <p:cNvSpPr>
            <a:spLocks noGrp="1"/>
          </p:cNvSpPr>
          <p:nvPr>
            <p:ph type="pic" sz="quarter" idx="14"/>
          </p:nvPr>
        </p:nvSpPr>
        <p:spPr>
          <a:xfrm>
            <a:off x="6452521"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65579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7"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67803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10" name="Picture Placeholder 9"/>
          <p:cNvSpPr>
            <a:spLocks noGrp="1"/>
          </p:cNvSpPr>
          <p:nvPr>
            <p:ph type="pic" sz="quarter" idx="14"/>
          </p:nvPr>
        </p:nvSpPr>
        <p:spPr>
          <a:xfrm>
            <a:off x="7171200" y="4708173"/>
            <a:ext cx="2909778" cy="193040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r>
              <a:rPr lang="en-US" dirty="0"/>
              <a:t>Click here to add a picture</a:t>
            </a:r>
          </a:p>
        </p:txBody>
      </p:sp>
      <p:sp>
        <p:nvSpPr>
          <p:cNvPr id="11" name="Picture Placeholder 9"/>
          <p:cNvSpPr>
            <a:spLocks noGrp="1"/>
          </p:cNvSpPr>
          <p:nvPr>
            <p:ph type="pic" sz="quarter" idx="15"/>
          </p:nvPr>
        </p:nvSpPr>
        <p:spPr>
          <a:xfrm>
            <a:off x="10271204" y="4708173"/>
            <a:ext cx="2909778" cy="19304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r>
              <a:rPr lang="en-US" dirty="0"/>
              <a:t>Click here to add a picture</a:t>
            </a:r>
          </a:p>
        </p:txBody>
      </p:sp>
    </p:spTree>
    <p:extLst>
      <p:ext uri="{BB962C8B-B14F-4D97-AF65-F5344CB8AC3E}">
        <p14:creationId xmlns:p14="http://schemas.microsoft.com/office/powerpoint/2010/main" val="729477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22"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90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3305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4244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560174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7032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332189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119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72175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11"/>
          </p:nvPr>
        </p:nvSpPr>
        <p:spPr>
          <a:xfrm>
            <a:off x="55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Title Placeholder 1"/>
          <p:cNvSpPr>
            <a:spLocks noGrp="1"/>
          </p:cNvSpPr>
          <p:nvPr>
            <p:ph type="title" hasCustomPrompt="1"/>
          </p:nvPr>
        </p:nvSpPr>
        <p:spPr bwMode="gray">
          <a:xfrm>
            <a:off x="11427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11" name="Text Placeholder 18"/>
          <p:cNvSpPr>
            <a:spLocks noGrp="1"/>
          </p:cNvSpPr>
          <p:nvPr>
            <p:ph type="body" sz="quarter" idx="12" hasCustomPrompt="1"/>
          </p:nvPr>
        </p:nvSpPr>
        <p:spPr>
          <a:xfrm>
            <a:off x="11427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2" name="Text Placeholder 21"/>
          <p:cNvSpPr>
            <a:spLocks noGrp="1"/>
          </p:cNvSpPr>
          <p:nvPr>
            <p:ph type="body" sz="quarter" idx="13" hasCustomPrompt="1"/>
          </p:nvPr>
        </p:nvSpPr>
        <p:spPr>
          <a:xfrm>
            <a:off x="11427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2" name="Text Placeholder 18"/>
          <p:cNvSpPr>
            <a:spLocks noGrp="1"/>
          </p:cNvSpPr>
          <p:nvPr>
            <p:ph type="body" sz="quarter" idx="14" hasCustomPrompt="1"/>
          </p:nvPr>
        </p:nvSpPr>
        <p:spPr>
          <a:xfrm>
            <a:off x="786393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23" name="Text Placeholder 21"/>
          <p:cNvSpPr>
            <a:spLocks noGrp="1"/>
          </p:cNvSpPr>
          <p:nvPr>
            <p:ph type="body" sz="quarter" idx="15" hasCustomPrompt="1"/>
          </p:nvPr>
        </p:nvSpPr>
        <p:spPr>
          <a:xfrm>
            <a:off x="786393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505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8639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8" name="Text Placeholder 18"/>
          <p:cNvSpPr>
            <a:spLocks noGrp="1"/>
          </p:cNvSpPr>
          <p:nvPr>
            <p:ph type="body" sz="quarter" idx="12" hasCustomPrompt="1"/>
          </p:nvPr>
        </p:nvSpPr>
        <p:spPr>
          <a:xfrm>
            <a:off x="78639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9" name="Text Placeholder 21"/>
          <p:cNvSpPr>
            <a:spLocks noGrp="1"/>
          </p:cNvSpPr>
          <p:nvPr>
            <p:ph type="body" sz="quarter" idx="13" hasCustomPrompt="1"/>
          </p:nvPr>
        </p:nvSpPr>
        <p:spPr>
          <a:xfrm>
            <a:off x="78639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0" name="Title Placeholder 1"/>
          <p:cNvSpPr txBox="1">
            <a:spLocks/>
          </p:cNvSpPr>
          <p:nvPr userDrawn="1"/>
        </p:nvSpPr>
        <p:spPr bwMode="gray">
          <a:xfrm>
            <a:off x="1151453" y="5037339"/>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a:t>ENTER HEADER TEXT</a:t>
            </a:r>
            <a:endParaRPr lang="en-US" dirty="0"/>
          </a:p>
        </p:txBody>
      </p:sp>
      <p:sp>
        <p:nvSpPr>
          <p:cNvPr id="12" name="Text Placeholder 18"/>
          <p:cNvSpPr>
            <a:spLocks noGrp="1"/>
          </p:cNvSpPr>
          <p:nvPr>
            <p:ph type="body" sz="quarter" idx="14" hasCustomPrompt="1"/>
          </p:nvPr>
        </p:nvSpPr>
        <p:spPr>
          <a:xfrm>
            <a:off x="115145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3" name="Text Placeholder 21"/>
          <p:cNvSpPr>
            <a:spLocks noGrp="1"/>
          </p:cNvSpPr>
          <p:nvPr>
            <p:ph type="body" sz="quarter" idx="15" hasCustomPrompt="1"/>
          </p:nvPr>
        </p:nvSpPr>
        <p:spPr>
          <a:xfrm>
            <a:off x="115145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20" name="Picture Placeholder 5"/>
          <p:cNvSpPr>
            <a:spLocks noGrp="1"/>
          </p:cNvSpPr>
          <p:nvPr>
            <p:ph type="pic" sz="quarter" idx="17"/>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7118" y="6964868"/>
            <a:ext cx="1671832" cy="362395"/>
          </a:xfrm>
          <a:prstGeom prst="rect">
            <a:avLst/>
          </a:prstGeom>
        </p:spPr>
      </p:pic>
    </p:spTree>
    <p:extLst>
      <p:ext uri="{BB962C8B-B14F-4D97-AF65-F5344CB8AC3E}">
        <p14:creationId xmlns:p14="http://schemas.microsoft.com/office/powerpoint/2010/main" val="35819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6713030" y="0"/>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8"/>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0" name="Title Placeholder 1"/>
          <p:cNvSpPr>
            <a:spLocks noGrp="1"/>
          </p:cNvSpPr>
          <p:nvPr>
            <p:ph type="title" hasCustomPrompt="1"/>
          </p:nvPr>
        </p:nvSpPr>
        <p:spPr bwMode="gray">
          <a:xfrm>
            <a:off x="234000" y="4132982"/>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4803377"/>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33363" y="5386107"/>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845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71303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378360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8"/>
          </p:nvPr>
        </p:nvSpPr>
        <p:spPr>
          <a:xfrm>
            <a:off x="6713030" y="3777663"/>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Title Placeholder 1"/>
          <p:cNvSpPr>
            <a:spLocks noGrp="1"/>
          </p:cNvSpPr>
          <p:nvPr>
            <p:ph type="title" hasCustomPrompt="1"/>
          </p:nvPr>
        </p:nvSpPr>
        <p:spPr bwMode="gray">
          <a:xfrm>
            <a:off x="210851" y="373731"/>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8" name="Text Placeholder 18"/>
          <p:cNvSpPr>
            <a:spLocks noGrp="1"/>
          </p:cNvSpPr>
          <p:nvPr>
            <p:ph type="body" sz="quarter" idx="12" hasCustomPrompt="1"/>
          </p:nvPr>
        </p:nvSpPr>
        <p:spPr>
          <a:xfrm>
            <a:off x="210214" y="1044126"/>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10214" y="1626856"/>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52798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1072076"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8" name="Picture Placeholder 7"/>
          <p:cNvSpPr>
            <a:spLocks noGrp="1"/>
          </p:cNvSpPr>
          <p:nvPr>
            <p:ph type="pic" sz="quarter" idx="14"/>
          </p:nvPr>
        </p:nvSpPr>
        <p:spPr>
          <a:xfrm>
            <a:off x="1074842"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921475"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8768108"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921474"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12" name="Text Placeholder 21"/>
          <p:cNvSpPr>
            <a:spLocks noGrp="1"/>
          </p:cNvSpPr>
          <p:nvPr>
            <p:ph type="body" sz="quarter" idx="18" hasCustomPrompt="1"/>
          </p:nvPr>
        </p:nvSpPr>
        <p:spPr>
          <a:xfrm>
            <a:off x="8768107"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5"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1730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Picture Placeholder 7"/>
          <p:cNvSpPr>
            <a:spLocks noGrp="1"/>
          </p:cNvSpPr>
          <p:nvPr>
            <p:ph type="pic" sz="quarter" idx="14"/>
          </p:nvPr>
        </p:nvSpPr>
        <p:spPr>
          <a:xfrm>
            <a:off x="1074842"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Picture Placeholder 7"/>
          <p:cNvSpPr>
            <a:spLocks noGrp="1"/>
          </p:cNvSpPr>
          <p:nvPr>
            <p:ph type="pic" sz="quarter" idx="15"/>
          </p:nvPr>
        </p:nvSpPr>
        <p:spPr>
          <a:xfrm>
            <a:off x="4921475"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6"/>
          </p:nvPr>
        </p:nvSpPr>
        <p:spPr>
          <a:xfrm>
            <a:off x="8768108"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3"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0601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5"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0"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8972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7"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9"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22"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3"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4"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5"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6"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726240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40172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53654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3"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4"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6"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21"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518446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3032576"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Picture Placeholder 7"/>
          <p:cNvSpPr>
            <a:spLocks noGrp="1"/>
          </p:cNvSpPr>
          <p:nvPr>
            <p:ph type="pic" sz="quarter" idx="15"/>
          </p:nvPr>
        </p:nvSpPr>
        <p:spPr>
          <a:xfrm>
            <a:off x="6846293"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35" hasCustomPrompt="1"/>
          </p:nvPr>
        </p:nvSpPr>
        <p:spPr>
          <a:xfrm>
            <a:off x="10606929" y="622565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21"/>
          <p:cNvSpPr>
            <a:spLocks noGrp="1"/>
          </p:cNvSpPr>
          <p:nvPr>
            <p:ph type="body" sz="quarter" idx="36" hasCustomPrompt="1"/>
          </p:nvPr>
        </p:nvSpPr>
        <p:spPr>
          <a:xfrm>
            <a:off x="945963" y="6225651"/>
            <a:ext cx="1906613" cy="364953"/>
          </a:xfrm>
          <a:prstGeom prst="rect">
            <a:avLst/>
          </a:prstGeom>
        </p:spPr>
        <p:txBody>
          <a:bodyPr lIns="0" tIns="0" rIns="0" bIns="0"/>
          <a:lstStyle>
            <a:lvl1pPr algn="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0535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343786"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9"/>
          </p:nvPr>
        </p:nvSpPr>
        <p:spPr>
          <a:xfrm>
            <a:off x="0"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20"/>
          </p:nvPr>
        </p:nvSpPr>
        <p:spPr>
          <a:xfrm>
            <a:off x="5620215"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Title Placeholder 1"/>
          <p:cNvSpPr>
            <a:spLocks noGrp="1"/>
          </p:cNvSpPr>
          <p:nvPr>
            <p:ph type="title" hasCustomPrompt="1"/>
          </p:nvPr>
        </p:nvSpPr>
        <p:spPr bwMode="gray">
          <a:xfrm>
            <a:off x="9333571" y="234000"/>
            <a:ext cx="401666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9333571" y="910720"/>
            <a:ext cx="3796642" cy="204648"/>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1701654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822735"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4478949"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9"/>
          </p:nvPr>
        </p:nvSpPr>
        <p:spPr>
          <a:xfrm>
            <a:off x="4478949"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20"/>
          </p:nvPr>
        </p:nvSpPr>
        <p:spPr>
          <a:xfrm>
            <a:off x="10099164"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itle Placeholder 1"/>
          <p:cNvSpPr>
            <a:spLocks noGrp="1"/>
          </p:cNvSpPr>
          <p:nvPr>
            <p:ph type="title" hasCustomPrompt="1"/>
          </p:nvPr>
        </p:nvSpPr>
        <p:spPr bwMode="gray">
          <a:xfrm>
            <a:off x="234001" y="234000"/>
            <a:ext cx="3910160"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233363" y="904395"/>
            <a:ext cx="3910798"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3" hasCustomPrompt="1"/>
          </p:nvPr>
        </p:nvSpPr>
        <p:spPr>
          <a:xfrm>
            <a:off x="233364" y="1487125"/>
            <a:ext cx="3792572" cy="4110753"/>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3026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647571" y="3777664"/>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Picture Placeholder 5"/>
          <p:cNvSpPr>
            <a:spLocks noGrp="1"/>
          </p:cNvSpPr>
          <p:nvPr>
            <p:ph type="pic" sz="quarter" idx="21"/>
          </p:nvPr>
        </p:nvSpPr>
        <p:spPr>
          <a:xfrm>
            <a:off x="10795378"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Picture Placeholder 5"/>
          <p:cNvSpPr>
            <a:spLocks noGrp="1"/>
          </p:cNvSpPr>
          <p:nvPr>
            <p:ph type="pic" sz="quarter" idx="22"/>
          </p:nvPr>
        </p:nvSpPr>
        <p:spPr>
          <a:xfrm>
            <a:off x="10795378"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1" name="Picture Placeholder 5"/>
          <p:cNvSpPr>
            <a:spLocks noGrp="1"/>
          </p:cNvSpPr>
          <p:nvPr>
            <p:ph type="pic" sz="quarter" idx="23"/>
          </p:nvPr>
        </p:nvSpPr>
        <p:spPr>
          <a:xfrm>
            <a:off x="0"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2" name="Picture Placeholder 5"/>
          <p:cNvSpPr>
            <a:spLocks noGrp="1"/>
          </p:cNvSpPr>
          <p:nvPr>
            <p:ph type="pic" sz="quarter" idx="24"/>
          </p:nvPr>
        </p:nvSpPr>
        <p:spPr>
          <a:xfrm>
            <a:off x="0" y="0"/>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3" name="Picture Placeholder 5"/>
          <p:cNvSpPr>
            <a:spLocks noGrp="1"/>
          </p:cNvSpPr>
          <p:nvPr>
            <p:ph type="pic" sz="quarter" idx="25"/>
          </p:nvPr>
        </p:nvSpPr>
        <p:spPr>
          <a:xfrm>
            <a:off x="4070029"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4" name="Title Placeholder 1"/>
          <p:cNvSpPr>
            <a:spLocks noGrp="1"/>
          </p:cNvSpPr>
          <p:nvPr>
            <p:ph type="title" hasCustomPrompt="1"/>
          </p:nvPr>
        </p:nvSpPr>
        <p:spPr bwMode="gray">
          <a:xfrm>
            <a:off x="7259163" y="234000"/>
            <a:ext cx="2994652"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16" name="Text Placeholder 18"/>
          <p:cNvSpPr>
            <a:spLocks noGrp="1"/>
          </p:cNvSpPr>
          <p:nvPr>
            <p:ph type="body" sz="quarter" idx="12" hasCustomPrompt="1"/>
          </p:nvPr>
        </p:nvSpPr>
        <p:spPr>
          <a:xfrm>
            <a:off x="7022424" y="904395"/>
            <a:ext cx="3468130"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8" name="Text Placeholder 21"/>
          <p:cNvSpPr>
            <a:spLocks noGrp="1"/>
          </p:cNvSpPr>
          <p:nvPr>
            <p:ph type="body" sz="quarter" idx="13" hasCustomPrompt="1"/>
          </p:nvPr>
        </p:nvSpPr>
        <p:spPr>
          <a:xfrm>
            <a:off x="7022425" y="1497249"/>
            <a:ext cx="3468129" cy="41107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2584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7354"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619061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804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81119"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8143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5035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5536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5600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56316"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8847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5316"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595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46268"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3538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35267"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35904"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36219"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4"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984971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cxnSp>
        <p:nvCxnSpPr>
          <p:cNvPr id="6" name="Straight Connector 5"/>
          <p:cNvCxnSpPr/>
          <p:nvPr userDrawn="1"/>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433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79975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0044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00754"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a picture</a:t>
            </a:r>
          </a:p>
        </p:txBody>
      </p:sp>
      <p:sp>
        <p:nvSpPr>
          <p:cNvPr id="12" name="Text Placeholder 18"/>
          <p:cNvSpPr>
            <a:spLocks noGrp="1"/>
          </p:cNvSpPr>
          <p:nvPr>
            <p:ph type="body" sz="quarter" idx="15"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18"/>
          <p:cNvSpPr>
            <a:spLocks noGrp="1"/>
          </p:cNvSpPr>
          <p:nvPr>
            <p:ph type="body" sz="quarter" idx="17"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5" name="Text Placeholder 21"/>
          <p:cNvSpPr>
            <a:spLocks noGrp="1"/>
          </p:cNvSpPr>
          <p:nvPr>
            <p:ph type="body" sz="quarter" idx="18"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8206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0"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7631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4247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648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1732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65108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8"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6243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16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8759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988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3" name="Text Placeholder 12"/>
          <p:cNvSpPr>
            <a:spLocks noGrp="1"/>
          </p:cNvSpPr>
          <p:nvPr>
            <p:ph type="body" sz="quarter" idx="11" hasCustomPrompt="1"/>
          </p:nvPr>
        </p:nvSpPr>
        <p:spPr>
          <a:xfrm>
            <a:off x="234000" y="1048180"/>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9175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10019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6866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65102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743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00186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12015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1238" y="-1"/>
            <a:ext cx="4480475" cy="37800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4" name="Picture Placeholder 9"/>
          <p:cNvSpPr>
            <a:spLocks noGrp="1"/>
          </p:cNvSpPr>
          <p:nvPr>
            <p:ph type="pic" sz="quarter" idx="17"/>
          </p:nvPr>
        </p:nvSpPr>
        <p:spPr>
          <a:xfrm>
            <a:off x="4482000" y="3779999"/>
            <a:ext cx="4480475" cy="3780000"/>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822592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2762" y="6965458"/>
            <a:ext cx="1677426" cy="363608"/>
          </a:xfrm>
          <a:prstGeom prst="rect">
            <a:avLst/>
          </a:prstGeom>
        </p:spPr>
      </p:pic>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3716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46811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639360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Agenda slide">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6721750" y="779094"/>
            <a:ext cx="6721200"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5" name="Text Placeholder 6"/>
          <p:cNvSpPr>
            <a:spLocks noGrp="1"/>
          </p:cNvSpPr>
          <p:nvPr>
            <p:ph type="body" sz="quarter" idx="10" hasCustomPrompt="1"/>
          </p:nvPr>
        </p:nvSpPr>
        <p:spPr>
          <a:xfrm>
            <a:off x="233363" y="77909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AGENDA</a:t>
            </a:r>
          </a:p>
        </p:txBody>
      </p:sp>
      <p:sp>
        <p:nvSpPr>
          <p:cNvPr id="7" name="Text Placeholder 21"/>
          <p:cNvSpPr>
            <a:spLocks noGrp="1"/>
          </p:cNvSpPr>
          <p:nvPr>
            <p:ph type="body" sz="quarter" idx="13" hasCustomPrompt="1"/>
          </p:nvPr>
        </p:nvSpPr>
        <p:spPr>
          <a:xfrm>
            <a:off x="233362" y="1679093"/>
            <a:ext cx="6275013" cy="4507271"/>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AppleSystemUIFont" charset="-12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Tree>
    <p:extLst>
      <p:ext uri="{BB962C8B-B14F-4D97-AF65-F5344CB8AC3E}">
        <p14:creationId xmlns:p14="http://schemas.microsoft.com/office/powerpoint/2010/main" val="1533823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Header &amp; Footer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46636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90152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83112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849431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57859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456641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33667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6. Thank you slid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94758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 Thank you slid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dd picture</a:t>
            </a: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782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 Video slide">
    <p:spTree>
      <p:nvGrpSpPr>
        <p:cNvPr id="1" name=""/>
        <p:cNvGrpSpPr/>
        <p:nvPr/>
      </p:nvGrpSpPr>
      <p:grpSpPr>
        <a:xfrm>
          <a:off x="0" y="0"/>
          <a:ext cx="0" cy="0"/>
          <a:chOff x="0" y="0"/>
          <a:chExt cx="0" cy="0"/>
        </a:xfrm>
      </p:grpSpPr>
      <p:sp>
        <p:nvSpPr>
          <p:cNvPr id="4" name="Media Placeholder 3"/>
          <p:cNvSpPr>
            <a:spLocks noGrp="1"/>
          </p:cNvSpPr>
          <p:nvPr>
            <p:ph type="media" sz="quarter" idx="10"/>
          </p:nvPr>
        </p:nvSpPr>
        <p:spPr>
          <a:xfrm>
            <a:off x="0" y="0"/>
            <a:ext cx="134429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video</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515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image" Target="../media/image7.png"/><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image" Target="../media/image1.emf"/><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oleObject" Target="../embeddings/oleObject11.bin"/><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tags" Target="../tags/tag12.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theme" Target="../theme/theme11.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image" Target="../media/image7.png"/><Relationship Id="rId2" Type="http://schemas.openxmlformats.org/officeDocument/2006/relationships/slideLayout" Target="../slideLayouts/slideLayout126.xml"/><Relationship Id="rId16" Type="http://schemas.openxmlformats.org/officeDocument/2006/relationships/image" Target="../media/image1.emf"/><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oleObject" Target="../embeddings/oleObject25.bin"/><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tags" Target="../tags/tag2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theme" Target="../theme/theme12.xml"/><Relationship Id="rId3" Type="http://schemas.openxmlformats.org/officeDocument/2006/relationships/slideLayout" Target="../slideLayouts/slideLayout139.xml"/><Relationship Id="rId21" Type="http://schemas.openxmlformats.org/officeDocument/2006/relationships/image" Target="../media/image1.emf"/><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oleObject" Target="../embeddings/oleObject35.bin"/><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10" Type="http://schemas.openxmlformats.org/officeDocument/2006/relationships/slideLayout" Target="../slideLayouts/slideLayout146.xml"/><Relationship Id="rId19" Type="http://schemas.openxmlformats.org/officeDocument/2006/relationships/tags" Target="../tags/tag36.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9.xml"/><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oleObject" Target="../embeddings/oleObject3.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ags" Target="../tags/tag4.xml"/><Relationship Id="rId5" Type="http://schemas.openxmlformats.org/officeDocument/2006/relationships/slideLayout" Target="../slideLayouts/slideLayout14.xml"/><Relationship Id="rId10" Type="http://schemas.openxmlformats.org/officeDocument/2006/relationships/theme" Target="../theme/theme3.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ags" Target="../tags/tag5.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theme" Target="../theme/theme4.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image" Target="../media/image1.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oleObject" Target="../embeddings/oleObject4.bin"/><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slideLayout" Target="../slideLayouts/slideLayout76.xml"/><Relationship Id="rId47" Type="http://schemas.openxmlformats.org/officeDocument/2006/relationships/slideLayout" Target="../slideLayouts/slideLayout81.xml"/><Relationship Id="rId50" Type="http://schemas.openxmlformats.org/officeDocument/2006/relationships/slideLayout" Target="../slideLayouts/slideLayout84.xml"/><Relationship Id="rId55" Type="http://schemas.openxmlformats.org/officeDocument/2006/relationships/slideLayout" Target="../slideLayouts/slideLayout89.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slideLayout" Target="../slideLayouts/slideLayout79.xml"/><Relationship Id="rId53" Type="http://schemas.openxmlformats.org/officeDocument/2006/relationships/slideLayout" Target="../slideLayouts/slideLayout87.xml"/><Relationship Id="rId58" Type="http://schemas.openxmlformats.org/officeDocument/2006/relationships/oleObject" Target="../embeddings/oleObject6.bin"/><Relationship Id="rId5" Type="http://schemas.openxmlformats.org/officeDocument/2006/relationships/slideLayout" Target="../slideLayouts/slideLayout39.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slideLayout" Target="../slideLayouts/slideLayout77.xml"/><Relationship Id="rId48" Type="http://schemas.openxmlformats.org/officeDocument/2006/relationships/slideLayout" Target="../slideLayouts/slideLayout82.xml"/><Relationship Id="rId56" Type="http://schemas.openxmlformats.org/officeDocument/2006/relationships/theme" Target="../theme/theme5.xml"/><Relationship Id="rId8" Type="http://schemas.openxmlformats.org/officeDocument/2006/relationships/slideLayout" Target="../slideLayouts/slideLayout42.xml"/><Relationship Id="rId51" Type="http://schemas.openxmlformats.org/officeDocument/2006/relationships/slideLayout" Target="../slideLayouts/slideLayout85.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slideLayout" Target="../slideLayouts/slideLayout80.xml"/><Relationship Id="rId59" Type="http://schemas.openxmlformats.org/officeDocument/2006/relationships/image" Target="../media/image1.emf"/><Relationship Id="rId20" Type="http://schemas.openxmlformats.org/officeDocument/2006/relationships/slideLayout" Target="../slideLayouts/slideLayout54.xml"/><Relationship Id="rId41" Type="http://schemas.openxmlformats.org/officeDocument/2006/relationships/slideLayout" Target="../slideLayouts/slideLayout75.xml"/><Relationship Id="rId54" Type="http://schemas.openxmlformats.org/officeDocument/2006/relationships/slideLayout" Target="../slideLayouts/slideLayout88.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49" Type="http://schemas.openxmlformats.org/officeDocument/2006/relationships/slideLayout" Target="../slideLayouts/slideLayout83.xml"/><Relationship Id="rId57" Type="http://schemas.openxmlformats.org/officeDocument/2006/relationships/tags" Target="../tags/tag7.xml"/><Relationship Id="rId10" Type="http://schemas.openxmlformats.org/officeDocument/2006/relationships/slideLayout" Target="../slideLayouts/slideLayout44.xml"/><Relationship Id="rId31" Type="http://schemas.openxmlformats.org/officeDocument/2006/relationships/slideLayout" Target="../slideLayouts/slideLayout65.xml"/><Relationship Id="rId44" Type="http://schemas.openxmlformats.org/officeDocument/2006/relationships/slideLayout" Target="../slideLayouts/slideLayout78.xml"/><Relationship Id="rId52" Type="http://schemas.openxmlformats.org/officeDocument/2006/relationships/slideLayout" Target="../slideLayouts/slideLayout86.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tags" Target="../tags/tag8.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94.xml"/><Relationship Id="rId7" Type="http://schemas.openxmlformats.org/officeDocument/2006/relationships/slideLayout" Target="../slideLayouts/slideLayout98.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image" Target="../media/image1.emf"/><Relationship Id="rId5" Type="http://schemas.openxmlformats.org/officeDocument/2006/relationships/slideLayout" Target="../slideLayouts/slideLayout96.xml"/><Relationship Id="rId10" Type="http://schemas.openxmlformats.org/officeDocument/2006/relationships/oleObject" Target="../embeddings/oleObject8.bin"/><Relationship Id="rId4" Type="http://schemas.openxmlformats.org/officeDocument/2006/relationships/slideLayout" Target="../slideLayouts/slideLayout95.xml"/><Relationship Id="rId9" Type="http://schemas.openxmlformats.org/officeDocument/2006/relationships/tags" Target="../tags/tag9.xml"/></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8.xml"/><Relationship Id="rId1" Type="http://schemas.openxmlformats.org/officeDocument/2006/relationships/slideLayout" Target="../slideLayouts/slideLayout99.xml"/><Relationship Id="rId5" Type="http://schemas.openxmlformats.org/officeDocument/2006/relationships/image" Target="../media/image1.emf"/><Relationship Id="rId4" Type="http://schemas.openxmlformats.org/officeDocument/2006/relationships/oleObject" Target="../embeddings/oleObject9.bin"/></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2.xml"/><Relationship Id="rId7" Type="http://schemas.openxmlformats.org/officeDocument/2006/relationships/oleObject" Target="../embeddings/oleObject10.bin"/><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tags" Target="../tags/tag11.xml"/><Relationship Id="rId5" Type="http://schemas.openxmlformats.org/officeDocument/2006/relationships/theme" Target="../theme/theme9.xml"/><Relationship Id="rId4"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1" imgW="6350000" imgH="6350000" progId="">
                  <p:embed/>
                </p:oleObj>
              </mc:Choice>
              <mc:Fallback>
                <p:oleObj name="think-cell Slide" r:id="rId11" imgW="6350000" imgH="635000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18" r:id="rId1"/>
    <p:sldLayoutId id="2147484014" r:id="rId2"/>
    <p:sldLayoutId id="2147484015" r:id="rId3"/>
    <p:sldLayoutId id="2147484016" r:id="rId4"/>
    <p:sldLayoutId id="2147484017" r:id="rId5"/>
    <p:sldLayoutId id="2147484096" r:id="rId6"/>
    <p:sldLayoutId id="2147484094" r:id="rId7"/>
    <p:sldLayoutId id="2147484101" r:id="rId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4" imgW="6350000" imgH="6350000" progId="">
                  <p:embed/>
                </p:oleObj>
              </mc:Choice>
              <mc:Fallback>
                <p:oleObj name="think-cell Slide" r:id="rId24" imgW="6350000" imgH="635000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064602590"/>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5" name="Picture 4"/>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208335757"/>
      </p:ext>
    </p:extLst>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 id="2147484220" r:id="rId10"/>
    <p:sldLayoutId id="2147484221" r:id="rId11"/>
    <p:sldLayoutId id="2147484222"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name="think-cell Slide" r:id="rId20" imgW="6350000" imgH="6350000" progId="">
                  <p:embed/>
                </p:oleObj>
              </mc:Choice>
              <mc:Fallback>
                <p:oleObj name="think-cell Slide" r:id="rId20" imgW="6350000" imgH="6350000" progId="">
                  <p:embed/>
                  <p:pic>
                    <p:nvPicPr>
                      <p:cNvPr id="8" name="Object 7"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73251974"/>
      </p:ext>
    </p:extLst>
  </p:cSld>
  <p:clrMap bg1="lt1" tx1="dk1" bg2="lt2" tx2="dk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 id="2147484229" r:id="rId6"/>
    <p:sldLayoutId id="2147484230" r:id="rId7"/>
    <p:sldLayoutId id="2147484231" r:id="rId8"/>
    <p:sldLayoutId id="2147484232" r:id="rId9"/>
    <p:sldLayoutId id="2147484233" r:id="rId10"/>
    <p:sldLayoutId id="2147484234" r:id="rId11"/>
    <p:sldLayoutId id="2147484235" r:id="rId12"/>
    <p:sldLayoutId id="2147484236" r:id="rId13"/>
    <p:sldLayoutId id="2147484237" r:id="rId14"/>
    <p:sldLayoutId id="2147484238" r:id="rId15"/>
    <p:sldLayoutId id="2147484239" r:id="rId16"/>
    <p:sldLayoutId id="2147484241" r:id="rId17"/>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706" rtl="0" eaLnBrk="1" latinLnBrk="0" hangingPunct="1">
        <a:spcBef>
          <a:spcPct val="0"/>
        </a:spcBef>
        <a:buNone/>
        <a:defRPr sz="3799"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ts val="19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ts val="19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ts val="1499"/>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79"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2" imgW="6350000" imgH="6350000" progId="">
                  <p:embed/>
                </p:oleObj>
              </mc:Choice>
              <mc:Fallback>
                <p:oleObj name="think-cell Slide" r:id="rId12" imgW="6350000" imgH="635000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4109" r:id="rId1"/>
    <p:sldLayoutId id="2147484139" r:id="rId2"/>
    <p:sldLayoutId id="2147484110" r:id="rId3"/>
    <p:sldLayoutId id="2147484111" r:id="rId4"/>
    <p:sldLayoutId id="2147484112" r:id="rId5"/>
    <p:sldLayoutId id="2147484113" r:id="rId6"/>
    <p:sldLayoutId id="2147484114" r:id="rId7"/>
    <p:sldLayoutId id="2147484115" r:id="rId8"/>
    <p:sldLayoutId id="2147484117" r:id="rId9"/>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9" imgW="6350000" imgH="6350000" progId="">
                  <p:embed/>
                </p:oleObj>
              </mc:Choice>
              <mc:Fallback>
                <p:oleObj name="think-cell Slide" r:id="rId19" imgW="6350000" imgH="6350000" progId="">
                  <p:embed/>
                  <p:pic>
                    <p:nvPicPr>
                      <p:cNvPr id="0"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5" r:id="rId1"/>
    <p:sldLayoutId id="2147484186" r:id="rId2"/>
    <p:sldLayoutId id="214748367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 id="2147484126" r:id="rId12"/>
    <p:sldLayoutId id="2147484127" r:id="rId13"/>
    <p:sldLayoutId id="2147484128" r:id="rId14"/>
    <p:sldLayoutId id="2147484129" r:id="rId15"/>
    <p:sldLayoutId id="2147484130" r:id="rId1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58" imgW="6350000" imgH="6350000" progId="">
                  <p:embed/>
                </p:oleObj>
              </mc:Choice>
              <mc:Fallback>
                <p:oleObj name="think-cell Slide" r:id="rId58" imgW="6350000" imgH="6350000" progId="">
                  <p:embed/>
                  <p:pic>
                    <p:nvPicPr>
                      <p:cNvPr id="0" name="Picture 2"/>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9" r:id="rId1"/>
    <p:sldLayoutId id="2147484098" r:id="rId2"/>
    <p:sldLayoutId id="2147484180" r:id="rId3"/>
    <p:sldLayoutId id="2147484181" r:id="rId4"/>
    <p:sldLayoutId id="2147484183" r:id="rId5"/>
    <p:sldLayoutId id="2147484100" r:id="rId6"/>
    <p:sldLayoutId id="2147484178" r:id="rId7"/>
    <p:sldLayoutId id="2147484182" r:id="rId8"/>
    <p:sldLayoutId id="2147484184" r:id="rId9"/>
    <p:sldLayoutId id="2147484185" r:id="rId10"/>
    <p:sldLayoutId id="2147484097" r:id="rId11"/>
    <p:sldLayoutId id="2147484102" r:id="rId12"/>
    <p:sldLayoutId id="2147484103" r:id="rId13"/>
    <p:sldLayoutId id="2147484104" r:id="rId14"/>
    <p:sldLayoutId id="2147484105" r:id="rId15"/>
    <p:sldLayoutId id="2147484106" r:id="rId16"/>
    <p:sldLayoutId id="2147484107" r:id="rId17"/>
    <p:sldLayoutId id="2147484108" r:id="rId18"/>
    <p:sldLayoutId id="2147484131" r:id="rId19"/>
    <p:sldLayoutId id="2147484132" r:id="rId20"/>
    <p:sldLayoutId id="2147484133" r:id="rId21"/>
    <p:sldLayoutId id="2147484141" r:id="rId22"/>
    <p:sldLayoutId id="2147484142" r:id="rId23"/>
    <p:sldLayoutId id="2147484143" r:id="rId24"/>
    <p:sldLayoutId id="2147484145" r:id="rId25"/>
    <p:sldLayoutId id="2147484146" r:id="rId26"/>
    <p:sldLayoutId id="2147484144" r:id="rId27"/>
    <p:sldLayoutId id="2147484147" r:id="rId28"/>
    <p:sldLayoutId id="2147484148" r:id="rId29"/>
    <p:sldLayoutId id="2147484149" r:id="rId30"/>
    <p:sldLayoutId id="2147484134" r:id="rId31"/>
    <p:sldLayoutId id="2147484135" r:id="rId32"/>
    <p:sldLayoutId id="2147484136" r:id="rId33"/>
    <p:sldLayoutId id="2147484137" r:id="rId34"/>
    <p:sldLayoutId id="2147484138" r:id="rId35"/>
    <p:sldLayoutId id="214748417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166" r:id="rId45"/>
    <p:sldLayoutId id="2147484167" r:id="rId46"/>
    <p:sldLayoutId id="2147484168" r:id="rId47"/>
    <p:sldLayoutId id="2147484169" r:id="rId48"/>
    <p:sldLayoutId id="2147484170" r:id="rId49"/>
    <p:sldLayoutId id="2147484171" r:id="rId50"/>
    <p:sldLayoutId id="2147484172" r:id="rId51"/>
    <p:sldLayoutId id="2147484173" r:id="rId52"/>
    <p:sldLayoutId id="2147484174" r:id="rId53"/>
    <p:sldLayoutId id="2147484175" r:id="rId54"/>
    <p:sldLayoutId id="2147484176" r:id="rId5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40" r:id="rId1"/>
    <p:sldLayoutId id="2147484187"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0" imgW="6350000" imgH="6350000" progId="">
                  <p:embed/>
                </p:oleObj>
              </mc:Choice>
              <mc:Fallback>
                <p:oleObj name="think-cell Slide" r:id="rId10" imgW="6350000" imgH="635000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7"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7" imgW="6350000" imgH="6350000" progId="">
                  <p:embed/>
                </p:oleObj>
              </mc:Choice>
              <mc:Fallback>
                <p:oleObj name="think-cell Slide" r:id="rId7" imgW="6350000" imgH="635000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image" Target="../media/image24.jpeg"/><Relationship Id="rId2" Type="http://schemas.openxmlformats.org/officeDocument/2006/relationships/image" Target="../media/image20.jpeg"/><Relationship Id="rId1" Type="http://schemas.openxmlformats.org/officeDocument/2006/relationships/slideLayout" Target="../slideLayouts/slideLayout60.xml"/><Relationship Id="rId6" Type="http://schemas.openxmlformats.org/officeDocument/2006/relationships/image" Target="../media/image10.png"/><Relationship Id="rId5" Type="http://schemas.openxmlformats.org/officeDocument/2006/relationships/image" Target="../media/image23.jpeg"/><Relationship Id="rId4" Type="http://schemas.openxmlformats.org/officeDocument/2006/relationships/image" Target="../media/image22.jpeg"/></Relationships>
</file>

<file path=ppt/slides/_rels/slide11.xml.rels><?xml version="1.0" encoding="UTF-8" standalone="yes"?>
<Relationships xmlns="http://schemas.openxmlformats.org/package/2006/relationships"><Relationship Id="rId3" Type="http://schemas.openxmlformats.org/officeDocument/2006/relationships/image" Target="../media/image25.jpeg"/><Relationship Id="rId7" Type="http://schemas.openxmlformats.org/officeDocument/2006/relationships/image" Target="../media/image28.jpeg"/><Relationship Id="rId2" Type="http://schemas.openxmlformats.org/officeDocument/2006/relationships/image" Target="../media/image10.png"/><Relationship Id="rId1" Type="http://schemas.openxmlformats.org/officeDocument/2006/relationships/slideLayout" Target="../slideLayouts/slideLayout59.xml"/><Relationship Id="rId6" Type="http://schemas.openxmlformats.org/officeDocument/2006/relationships/hyperlink" Target="https://www.google.com/url?sa=i&amp;url=https%3A%2F%2Fen.wikipedia.org%2Fwiki%2FPoor_Things_%2528film%2529&amp;psig=AOvVaw12YwwyM7SIFzglQOPkX1AP&amp;ust=1692189765617000&amp;source=images&amp;cd=vfe&amp;opi=89978449&amp;ved=0CA8QjRxqGAoTCLim2qDY3oADFQAAAAAdAAAAABCxAw" TargetMode="External"/><Relationship Id="rId5" Type="http://schemas.openxmlformats.org/officeDocument/2006/relationships/image" Target="../media/image27.png"/><Relationship Id="rId4" Type="http://schemas.openxmlformats.org/officeDocument/2006/relationships/image" Target="../media/image26.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56.xml"/><Relationship Id="rId5" Type="http://schemas.openxmlformats.org/officeDocument/2006/relationships/image" Target="../media/image13.jpeg"/><Relationship Id="rId4" Type="http://schemas.openxmlformats.org/officeDocument/2006/relationships/image" Target="../media/image1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0.png"/><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0.png"/><Relationship Id="rId1" Type="http://schemas.openxmlformats.org/officeDocument/2006/relationships/slideLayout" Target="../slideLayouts/slideLayout59.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B53698C-C734-4577-8728-32CC8C5EB000}"/>
              </a:ext>
            </a:extLst>
          </p:cNvPr>
          <p:cNvPicPr>
            <a:picLocks noChangeAspect="1"/>
          </p:cNvPicPr>
          <p:nvPr/>
        </p:nvPicPr>
        <p:blipFill>
          <a:blip r:embed="rId2"/>
          <a:stretch>
            <a:fillRect/>
          </a:stretch>
        </p:blipFill>
        <p:spPr>
          <a:xfrm>
            <a:off x="0" y="1166724"/>
            <a:ext cx="13442950" cy="5227814"/>
          </a:xfrm>
          <a:prstGeom prst="rect">
            <a:avLst/>
          </a:prstGeom>
        </p:spPr>
      </p:pic>
      <p:sp>
        <p:nvSpPr>
          <p:cNvPr id="9" name="Rectangle 8">
            <a:extLst>
              <a:ext uri="{FF2B5EF4-FFF2-40B4-BE49-F238E27FC236}">
                <a16:creationId xmlns:a16="http://schemas.microsoft.com/office/drawing/2014/main" id="{43A97B6F-811A-4437-AAB1-4DFEE352F451}"/>
              </a:ext>
            </a:extLst>
          </p:cNvPr>
          <p:cNvSpPr/>
          <p:nvPr/>
        </p:nvSpPr>
        <p:spPr>
          <a:xfrm>
            <a:off x="0" y="1166724"/>
            <a:ext cx="13442950" cy="5227814"/>
          </a:xfrm>
          <a:prstGeom prst="rect">
            <a:avLst/>
          </a:prstGeom>
          <a:solidFill>
            <a:schemeClr val="accent6">
              <a:lumMod val="75000"/>
              <a:alpha val="64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2" name="Text Placeholder 1">
            <a:extLst>
              <a:ext uri="{FF2B5EF4-FFF2-40B4-BE49-F238E27FC236}">
                <a16:creationId xmlns:a16="http://schemas.microsoft.com/office/drawing/2014/main" id="{32C88F6A-EA57-4436-9B47-2FF1CC073291}"/>
              </a:ext>
            </a:extLst>
          </p:cNvPr>
          <p:cNvSpPr>
            <a:spLocks noGrp="1"/>
          </p:cNvSpPr>
          <p:nvPr>
            <p:ph type="body" sz="quarter" idx="10"/>
          </p:nvPr>
        </p:nvSpPr>
        <p:spPr/>
        <p:txBody>
          <a:bodyPr/>
          <a:lstStyle/>
          <a:p>
            <a:r>
              <a:rPr lang="en-GB" dirty="0"/>
              <a:t>AWARDS SEASON</a:t>
            </a:r>
          </a:p>
        </p:txBody>
      </p:sp>
      <p:sp>
        <p:nvSpPr>
          <p:cNvPr id="3" name="Text Placeholder 2">
            <a:extLst>
              <a:ext uri="{FF2B5EF4-FFF2-40B4-BE49-F238E27FC236}">
                <a16:creationId xmlns:a16="http://schemas.microsoft.com/office/drawing/2014/main" id="{5738D510-877C-456C-8DD8-038C300FAA96}"/>
              </a:ext>
            </a:extLst>
          </p:cNvPr>
          <p:cNvSpPr>
            <a:spLocks noGrp="1"/>
          </p:cNvSpPr>
          <p:nvPr>
            <p:ph type="body" sz="quarter" idx="11"/>
          </p:nvPr>
        </p:nvSpPr>
        <p:spPr/>
        <p:txBody>
          <a:bodyPr/>
          <a:lstStyle/>
          <a:p>
            <a:r>
              <a:rPr lang="en-GB" dirty="0"/>
              <a:t>2024</a:t>
            </a:r>
          </a:p>
        </p:txBody>
      </p:sp>
      <p:sp>
        <p:nvSpPr>
          <p:cNvPr id="4" name="Text Placeholder 3">
            <a:extLst>
              <a:ext uri="{FF2B5EF4-FFF2-40B4-BE49-F238E27FC236}">
                <a16:creationId xmlns:a16="http://schemas.microsoft.com/office/drawing/2014/main" id="{EB4C34B0-B9B2-427F-A912-58467E5370F3}"/>
              </a:ext>
            </a:extLst>
          </p:cNvPr>
          <p:cNvSpPr>
            <a:spLocks noGrp="1"/>
          </p:cNvSpPr>
          <p:nvPr>
            <p:ph type="body" sz="quarter" idx="12"/>
          </p:nvPr>
        </p:nvSpPr>
        <p:spPr/>
        <p:txBody>
          <a:bodyPr/>
          <a:lstStyle/>
          <a:p>
            <a:endParaRPr lang="en-GB"/>
          </a:p>
        </p:txBody>
      </p:sp>
      <p:cxnSp>
        <p:nvCxnSpPr>
          <p:cNvPr id="5" name="Straight Connector 4">
            <a:extLst>
              <a:ext uri="{FF2B5EF4-FFF2-40B4-BE49-F238E27FC236}">
                <a16:creationId xmlns:a16="http://schemas.microsoft.com/office/drawing/2014/main" id="{A2C7D5BA-7742-44E3-B786-D8E720BEADA2}"/>
              </a:ext>
            </a:extLst>
          </p:cNvPr>
          <p:cNvCxnSpPr>
            <a:cxnSpLocks/>
          </p:cNvCxnSpPr>
          <p:nvPr/>
        </p:nvCxnSpPr>
        <p:spPr>
          <a:xfrm>
            <a:off x="2102179" y="4159842"/>
            <a:ext cx="9238593"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1028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6" descr="Napoleon (2023) - IMDb">
            <a:extLst>
              <a:ext uri="{FF2B5EF4-FFF2-40B4-BE49-F238E27FC236}">
                <a16:creationId xmlns:a16="http://schemas.microsoft.com/office/drawing/2014/main" id="{B37201EC-D558-5591-BA45-732C60B163A5}"/>
              </a:ext>
            </a:extLst>
          </p:cNvPr>
          <p:cNvPicPr>
            <a:picLocks noGrp="1" noChangeAspect="1" noChangeArrowheads="1"/>
          </p:cNvPicPr>
          <p:nvPr>
            <p:ph type="pic" sz="quarter" idx="14"/>
          </p:nvPr>
        </p:nvPicPr>
        <p:blipFill>
          <a:blip r:embed="rId2" cstate="print">
            <a:extLst>
              <a:ext uri="{28A0092B-C50C-407E-A947-70E740481C1C}">
                <a14:useLocalDpi xmlns:a14="http://schemas.microsoft.com/office/drawing/2010/main" val="0"/>
              </a:ext>
            </a:extLst>
          </a:blip>
          <a:srcRect t="52" b="52"/>
          <a:stretch/>
        </p:blipFill>
        <p:spPr bwMode="auto">
          <a:xfrm>
            <a:off x="361149" y="1930214"/>
            <a:ext cx="2281108" cy="3382452"/>
          </a:xfrm>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12">
            <a:extLst>
              <a:ext uri="{FF2B5EF4-FFF2-40B4-BE49-F238E27FC236}">
                <a16:creationId xmlns:a16="http://schemas.microsoft.com/office/drawing/2014/main" id="{9D7D1AFF-CE42-4369-9797-EDB81F19C175}"/>
              </a:ext>
            </a:extLst>
          </p:cNvPr>
          <p:cNvSpPr>
            <a:spLocks noGrp="1"/>
          </p:cNvSpPr>
          <p:nvPr>
            <p:ph type="body" sz="quarter" idx="19"/>
          </p:nvPr>
        </p:nvSpPr>
        <p:spPr>
          <a:xfrm>
            <a:off x="361148" y="5527950"/>
            <a:ext cx="1906613" cy="364953"/>
          </a:xfrm>
        </p:spPr>
        <p:txBody>
          <a:bodyPr/>
          <a:lstStyle/>
          <a:p>
            <a:r>
              <a:rPr lang="en-US" dirty="0">
                <a:solidFill>
                  <a:srgbClr val="FFFFFF"/>
                </a:solidFill>
              </a:rPr>
              <a:t>Napoleon</a:t>
            </a:r>
          </a:p>
          <a:p>
            <a:r>
              <a:rPr lang="en-US" dirty="0">
                <a:solidFill>
                  <a:srgbClr val="FFFFFF"/>
                </a:solidFill>
              </a:rPr>
              <a:t>Silver Spot</a:t>
            </a:r>
          </a:p>
        </p:txBody>
      </p:sp>
      <p:pic>
        <p:nvPicPr>
          <p:cNvPr id="3074" name="Picture 2" descr="Tom Hardy to lead the pack in Jeff Nichols' 'The Bikeriders'">
            <a:extLst>
              <a:ext uri="{FF2B5EF4-FFF2-40B4-BE49-F238E27FC236}">
                <a16:creationId xmlns:a16="http://schemas.microsoft.com/office/drawing/2014/main" id="{DF5BAA7D-BDD8-1E7F-0731-88EE1A7099EF}"/>
              </a:ext>
            </a:extLst>
          </p:cNvPr>
          <p:cNvPicPr>
            <a:picLocks noGrp="1" noChangeAspect="1" noChangeArrowheads="1"/>
          </p:cNvPicPr>
          <p:nvPr>
            <p:ph type="pic" sz="quarter" idx="28"/>
          </p:nvPr>
        </p:nvPicPr>
        <p:blipFill>
          <a:blip r:embed="rId3">
            <a:extLst>
              <a:ext uri="{28A0092B-C50C-407E-A947-70E740481C1C}">
                <a14:useLocalDpi xmlns:a14="http://schemas.microsoft.com/office/drawing/2010/main" val="0"/>
              </a:ext>
            </a:extLst>
          </a:blip>
          <a:srcRect l="8822" r="8822"/>
          <a:stretch/>
        </p:blipFill>
        <p:spPr bwMode="auto">
          <a:xfrm>
            <a:off x="2971035" y="2510452"/>
            <a:ext cx="2281108" cy="3382452"/>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Ferrari': Michael Mann's New Film Starring Adam Driver Gets U.K.  Distribution As U.S. Distribution Remains Up In The Air">
            <a:extLst>
              <a:ext uri="{FF2B5EF4-FFF2-40B4-BE49-F238E27FC236}">
                <a16:creationId xmlns:a16="http://schemas.microsoft.com/office/drawing/2014/main" id="{EB04A86A-E1E8-66BB-DFC7-292103F2FF99}"/>
              </a:ext>
            </a:extLst>
          </p:cNvPr>
          <p:cNvPicPr>
            <a:picLocks noGrp="1" noChangeAspect="1" noChangeArrowheads="1"/>
          </p:cNvPicPr>
          <p:nvPr>
            <p:ph type="pic" sz="quarter" idx="29"/>
          </p:nvPr>
        </p:nvPicPr>
        <p:blipFill>
          <a:blip r:embed="rId4">
            <a:extLst>
              <a:ext uri="{28A0092B-C50C-407E-A947-70E740481C1C}">
                <a14:useLocalDpi xmlns:a14="http://schemas.microsoft.com/office/drawing/2010/main" val="0"/>
              </a:ext>
            </a:extLst>
          </a:blip>
          <a:srcRect l="30838" r="30838"/>
          <a:stretch/>
        </p:blipFill>
        <p:spPr bwMode="auto">
          <a:xfrm>
            <a:off x="5580921" y="1930214"/>
            <a:ext cx="2281108" cy="3382452"/>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One Life,' Starring Anthony Hopkins, to Screen At London Film Fest – The  Hollywood Reporter">
            <a:extLst>
              <a:ext uri="{FF2B5EF4-FFF2-40B4-BE49-F238E27FC236}">
                <a16:creationId xmlns:a16="http://schemas.microsoft.com/office/drawing/2014/main" id="{86865297-42D8-D2D0-747B-A356B4E6E8EF}"/>
              </a:ext>
            </a:extLst>
          </p:cNvPr>
          <p:cNvPicPr>
            <a:picLocks noGrp="1" noChangeAspect="1" noChangeArrowheads="1"/>
          </p:cNvPicPr>
          <p:nvPr>
            <p:ph type="pic" sz="quarter" idx="30"/>
          </p:nvPr>
        </p:nvPicPr>
        <p:blipFill>
          <a:blip r:embed="rId5">
            <a:extLst>
              <a:ext uri="{28A0092B-C50C-407E-A947-70E740481C1C}">
                <a14:useLocalDpi xmlns:a14="http://schemas.microsoft.com/office/drawing/2010/main" val="0"/>
              </a:ext>
            </a:extLst>
          </a:blip>
          <a:srcRect l="31008" r="31008"/>
          <a:stretch/>
        </p:blipFill>
        <p:spPr bwMode="auto">
          <a:xfrm>
            <a:off x="8190807" y="2510451"/>
            <a:ext cx="2281108" cy="3382452"/>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16">
            <a:extLst>
              <a:ext uri="{FF2B5EF4-FFF2-40B4-BE49-F238E27FC236}">
                <a16:creationId xmlns:a16="http://schemas.microsoft.com/office/drawing/2014/main" id="{7E280120-0872-A908-E84C-280AABB7485E}"/>
              </a:ext>
            </a:extLst>
          </p:cNvPr>
          <p:cNvSpPr>
            <a:spLocks noGrp="1"/>
          </p:cNvSpPr>
          <p:nvPr>
            <p:ph type="body" sz="quarter" idx="33"/>
          </p:nvPr>
        </p:nvSpPr>
        <p:spPr>
          <a:xfrm>
            <a:off x="5580921" y="5527949"/>
            <a:ext cx="1906613" cy="364953"/>
          </a:xfrm>
        </p:spPr>
        <p:txBody>
          <a:bodyPr/>
          <a:lstStyle/>
          <a:p>
            <a:r>
              <a:rPr lang="en-US" dirty="0">
                <a:solidFill>
                  <a:srgbClr val="FFFFFF"/>
                </a:solidFill>
              </a:rPr>
              <a:t>Ferrari</a:t>
            </a:r>
          </a:p>
          <a:p>
            <a:r>
              <a:rPr lang="en-US" dirty="0">
                <a:solidFill>
                  <a:srgbClr val="FFFFFF"/>
                </a:solidFill>
              </a:rPr>
              <a:t>Gold / Silver Spot</a:t>
            </a:r>
          </a:p>
          <a:p>
            <a:endParaRPr lang="en-US" dirty="0">
              <a:solidFill>
                <a:srgbClr val="FFFFFF"/>
              </a:solidFill>
            </a:endParaRPr>
          </a:p>
        </p:txBody>
      </p:sp>
      <p:sp>
        <p:nvSpPr>
          <p:cNvPr id="18" name="Text Placeholder 17">
            <a:extLst>
              <a:ext uri="{FF2B5EF4-FFF2-40B4-BE49-F238E27FC236}">
                <a16:creationId xmlns:a16="http://schemas.microsoft.com/office/drawing/2014/main" id="{87E60B97-E2D4-39DB-34A4-DDC27C439B3C}"/>
              </a:ext>
            </a:extLst>
          </p:cNvPr>
          <p:cNvSpPr>
            <a:spLocks noGrp="1"/>
          </p:cNvSpPr>
          <p:nvPr>
            <p:ph type="body" sz="quarter" idx="34"/>
          </p:nvPr>
        </p:nvSpPr>
        <p:spPr>
          <a:xfrm>
            <a:off x="10800693" y="5527949"/>
            <a:ext cx="1906613" cy="364953"/>
          </a:xfrm>
        </p:spPr>
        <p:txBody>
          <a:bodyPr/>
          <a:lstStyle/>
          <a:p>
            <a:r>
              <a:rPr lang="en-US" dirty="0">
                <a:solidFill>
                  <a:srgbClr val="FFFFFF"/>
                </a:solidFill>
              </a:rPr>
              <a:t>The </a:t>
            </a:r>
            <a:r>
              <a:rPr lang="en-US" dirty="0" err="1">
                <a:solidFill>
                  <a:srgbClr val="FFFFFF"/>
                </a:solidFill>
              </a:rPr>
              <a:t>Colour</a:t>
            </a:r>
            <a:r>
              <a:rPr lang="en-US" dirty="0">
                <a:solidFill>
                  <a:srgbClr val="FFFFFF"/>
                </a:solidFill>
              </a:rPr>
              <a:t> Purple</a:t>
            </a:r>
          </a:p>
          <a:p>
            <a:r>
              <a:rPr lang="en-US" dirty="0">
                <a:solidFill>
                  <a:srgbClr val="FFFFFF"/>
                </a:solidFill>
              </a:rPr>
              <a:t>Gold / Silver Spot</a:t>
            </a:r>
          </a:p>
        </p:txBody>
      </p:sp>
      <p:sp>
        <p:nvSpPr>
          <p:cNvPr id="19" name="Text Placeholder 18">
            <a:extLst>
              <a:ext uri="{FF2B5EF4-FFF2-40B4-BE49-F238E27FC236}">
                <a16:creationId xmlns:a16="http://schemas.microsoft.com/office/drawing/2014/main" id="{B414FB94-365F-87FE-65EA-270A0FBCD20A}"/>
              </a:ext>
            </a:extLst>
          </p:cNvPr>
          <p:cNvSpPr>
            <a:spLocks noGrp="1"/>
          </p:cNvSpPr>
          <p:nvPr>
            <p:ph type="body" sz="quarter" idx="35"/>
          </p:nvPr>
        </p:nvSpPr>
        <p:spPr>
          <a:xfrm>
            <a:off x="2957226" y="6149659"/>
            <a:ext cx="1906613" cy="364953"/>
          </a:xfrm>
        </p:spPr>
        <p:txBody>
          <a:bodyPr/>
          <a:lstStyle/>
          <a:p>
            <a:r>
              <a:rPr lang="en-US" dirty="0">
                <a:solidFill>
                  <a:srgbClr val="FFFFFF"/>
                </a:solidFill>
              </a:rPr>
              <a:t>The </a:t>
            </a:r>
            <a:r>
              <a:rPr lang="en-US" dirty="0" err="1">
                <a:solidFill>
                  <a:srgbClr val="FFFFFF"/>
                </a:solidFill>
              </a:rPr>
              <a:t>Bikeriders</a:t>
            </a:r>
            <a:endParaRPr lang="en-US" dirty="0">
              <a:solidFill>
                <a:srgbClr val="FFFFFF"/>
              </a:solidFill>
            </a:endParaRPr>
          </a:p>
          <a:p>
            <a:r>
              <a:rPr lang="en-US" dirty="0">
                <a:solidFill>
                  <a:srgbClr val="FFFFFF"/>
                </a:solidFill>
              </a:rPr>
              <a:t>Gold / Silver Spot</a:t>
            </a:r>
          </a:p>
          <a:p>
            <a:endParaRPr lang="en-US" dirty="0">
              <a:solidFill>
                <a:srgbClr val="FFFFFF"/>
              </a:solidFill>
            </a:endParaRPr>
          </a:p>
        </p:txBody>
      </p:sp>
      <p:sp>
        <p:nvSpPr>
          <p:cNvPr id="5" name="Text Placeholder 4">
            <a:extLst>
              <a:ext uri="{FF2B5EF4-FFF2-40B4-BE49-F238E27FC236}">
                <a16:creationId xmlns:a16="http://schemas.microsoft.com/office/drawing/2014/main" id="{077B757C-E929-5722-C734-794F245C3A28}"/>
              </a:ext>
            </a:extLst>
          </p:cNvPr>
          <p:cNvSpPr>
            <a:spLocks noGrp="1"/>
          </p:cNvSpPr>
          <p:nvPr>
            <p:ph type="body" sz="quarter" idx="36"/>
          </p:nvPr>
        </p:nvSpPr>
        <p:spPr>
          <a:xfrm>
            <a:off x="8190807" y="6149658"/>
            <a:ext cx="1906613" cy="364953"/>
          </a:xfrm>
        </p:spPr>
        <p:txBody>
          <a:bodyPr/>
          <a:lstStyle/>
          <a:p>
            <a:r>
              <a:rPr lang="en-US" dirty="0">
                <a:solidFill>
                  <a:srgbClr val="FFFFFF"/>
                </a:solidFill>
              </a:rPr>
              <a:t>One Life</a:t>
            </a:r>
          </a:p>
          <a:p>
            <a:r>
              <a:rPr lang="en-US" dirty="0">
                <a:solidFill>
                  <a:srgbClr val="FFFFFF"/>
                </a:solidFill>
              </a:rPr>
              <a:t>Gold / Silver Spot</a:t>
            </a:r>
          </a:p>
          <a:p>
            <a:endParaRPr lang="en-US" dirty="0"/>
          </a:p>
        </p:txBody>
      </p:sp>
      <p:sp>
        <p:nvSpPr>
          <p:cNvPr id="10" name="Title 9">
            <a:extLst>
              <a:ext uri="{FF2B5EF4-FFF2-40B4-BE49-F238E27FC236}">
                <a16:creationId xmlns:a16="http://schemas.microsoft.com/office/drawing/2014/main" id="{46A82B63-AD33-215D-9C1E-D0566B09832B}"/>
              </a:ext>
            </a:extLst>
          </p:cNvPr>
          <p:cNvSpPr>
            <a:spLocks noGrp="1"/>
          </p:cNvSpPr>
          <p:nvPr>
            <p:ph type="title"/>
          </p:nvPr>
        </p:nvSpPr>
        <p:spPr/>
        <p:txBody>
          <a:bodyPr/>
          <a:lstStyle/>
          <a:p>
            <a:r>
              <a:rPr lang="en-US" dirty="0">
                <a:solidFill>
                  <a:srgbClr val="FFFFFF"/>
                </a:solidFill>
              </a:rPr>
              <a:t>AWARDS CONTENDERS 2024</a:t>
            </a:r>
          </a:p>
        </p:txBody>
      </p:sp>
      <p:sp>
        <p:nvSpPr>
          <p:cNvPr id="2" name="Text Placeholder 1">
            <a:extLst>
              <a:ext uri="{FF2B5EF4-FFF2-40B4-BE49-F238E27FC236}">
                <a16:creationId xmlns:a16="http://schemas.microsoft.com/office/drawing/2014/main" id="{8D0A6095-8C6D-4203-2BF5-4B2CE294926E}"/>
              </a:ext>
            </a:extLst>
          </p:cNvPr>
          <p:cNvSpPr>
            <a:spLocks noGrp="1"/>
          </p:cNvSpPr>
          <p:nvPr>
            <p:ph type="body" sz="quarter" idx="12"/>
          </p:nvPr>
        </p:nvSpPr>
        <p:spPr/>
        <p:txBody>
          <a:bodyPr/>
          <a:lstStyle/>
          <a:p>
            <a:endParaRPr lang="en-US"/>
          </a:p>
        </p:txBody>
      </p:sp>
      <p:pic>
        <p:nvPicPr>
          <p:cNvPr id="20" name="Picture 19">
            <a:extLst>
              <a:ext uri="{FF2B5EF4-FFF2-40B4-BE49-F238E27FC236}">
                <a16:creationId xmlns:a16="http://schemas.microsoft.com/office/drawing/2014/main" id="{B5F14156-BD06-849F-497C-14BE81B20E3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2224" y="6959163"/>
            <a:ext cx="1679509" cy="364060"/>
          </a:xfrm>
          <a:prstGeom prst="rect">
            <a:avLst/>
          </a:prstGeom>
        </p:spPr>
      </p:pic>
      <p:cxnSp>
        <p:nvCxnSpPr>
          <p:cNvPr id="8" name="Straight Connector 7">
            <a:extLst>
              <a:ext uri="{FF2B5EF4-FFF2-40B4-BE49-F238E27FC236}">
                <a16:creationId xmlns:a16="http://schemas.microsoft.com/office/drawing/2014/main" id="{981922DE-19A1-55BE-57A0-469571CD8F5B}"/>
              </a:ext>
            </a:extLst>
          </p:cNvPr>
          <p:cNvCxnSpPr>
            <a:cxnSpLocks/>
          </p:cNvCxnSpPr>
          <p:nvPr/>
        </p:nvCxnSpPr>
        <p:spPr>
          <a:xfrm>
            <a:off x="353" y="706678"/>
            <a:ext cx="4245076" cy="0"/>
          </a:xfrm>
          <a:prstGeom prst="line">
            <a:avLst/>
          </a:prstGeom>
          <a:noFill/>
          <a:ln w="19050" cap="flat" cmpd="sng" algn="ctr">
            <a:solidFill>
              <a:srgbClr val="FFFFFF"/>
            </a:solidFill>
            <a:prstDash val="solid"/>
          </a:ln>
          <a:effectLst/>
        </p:spPr>
      </p:cxnSp>
      <p:pic>
        <p:nvPicPr>
          <p:cNvPr id="2052" name="Picture 4" descr="The Color Purple': Halle Bailey and Fantasia Barrino star in the first  trailer for new movie | CNN">
            <a:extLst>
              <a:ext uri="{FF2B5EF4-FFF2-40B4-BE49-F238E27FC236}">
                <a16:creationId xmlns:a16="http://schemas.microsoft.com/office/drawing/2014/main" id="{D21BD417-AD50-41B0-BC79-035E497C0D69}"/>
              </a:ext>
            </a:extLst>
          </p:cNvPr>
          <p:cNvPicPr>
            <a:picLocks noGrp="1" noChangeAspect="1" noChangeArrowheads="1"/>
          </p:cNvPicPr>
          <p:nvPr>
            <p:ph type="pic" sz="quarter" idx="31"/>
          </p:nvPr>
        </p:nvPicPr>
        <p:blipFill rotWithShape="1">
          <a:blip r:embed="rId7">
            <a:extLst>
              <a:ext uri="{28A0092B-C50C-407E-A947-70E740481C1C}">
                <a14:useLocalDpi xmlns:a14="http://schemas.microsoft.com/office/drawing/2010/main" val="0"/>
              </a:ext>
            </a:extLst>
          </a:blip>
          <a:srcRect l="24443" r="37625"/>
          <a:stretch/>
        </p:blipFill>
        <p:spPr bwMode="auto">
          <a:xfrm>
            <a:off x="10801350" y="1930400"/>
            <a:ext cx="2281238" cy="3382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1443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9D7D1AFF-CE42-4369-9797-EDB81F19C175}"/>
              </a:ext>
            </a:extLst>
          </p:cNvPr>
          <p:cNvSpPr>
            <a:spLocks noGrp="1"/>
          </p:cNvSpPr>
          <p:nvPr>
            <p:ph type="body" sz="quarter" idx="19"/>
          </p:nvPr>
        </p:nvSpPr>
        <p:spPr/>
        <p:txBody>
          <a:bodyPr/>
          <a:lstStyle/>
          <a:p>
            <a:r>
              <a:rPr lang="en-US" dirty="0">
                <a:solidFill>
                  <a:srgbClr val="FFFFFF"/>
                </a:solidFill>
              </a:rPr>
              <a:t>Bob Marley: One Love</a:t>
            </a:r>
          </a:p>
          <a:p>
            <a:r>
              <a:rPr lang="en-US" dirty="0">
                <a:solidFill>
                  <a:srgbClr val="FFFFFF"/>
                </a:solidFill>
              </a:rPr>
              <a:t>Gold / Silver Spot</a:t>
            </a:r>
          </a:p>
          <a:p>
            <a:endParaRPr lang="en-US" dirty="0">
              <a:solidFill>
                <a:srgbClr val="FFFFFF"/>
              </a:solidFill>
            </a:endParaRPr>
          </a:p>
        </p:txBody>
      </p:sp>
      <p:sp>
        <p:nvSpPr>
          <p:cNvPr id="17" name="Text Placeholder 16">
            <a:extLst>
              <a:ext uri="{FF2B5EF4-FFF2-40B4-BE49-F238E27FC236}">
                <a16:creationId xmlns:a16="http://schemas.microsoft.com/office/drawing/2014/main" id="{7E280120-0872-A908-E84C-280AABB7485E}"/>
              </a:ext>
            </a:extLst>
          </p:cNvPr>
          <p:cNvSpPr>
            <a:spLocks noGrp="1"/>
          </p:cNvSpPr>
          <p:nvPr>
            <p:ph type="body" sz="quarter" idx="25"/>
          </p:nvPr>
        </p:nvSpPr>
        <p:spPr/>
        <p:txBody>
          <a:bodyPr/>
          <a:lstStyle/>
          <a:p>
            <a:r>
              <a:rPr lang="en-US" dirty="0">
                <a:solidFill>
                  <a:srgbClr val="FFFFFF"/>
                </a:solidFill>
              </a:rPr>
              <a:t>Poor Things</a:t>
            </a:r>
          </a:p>
          <a:p>
            <a:r>
              <a:rPr lang="en-US" dirty="0">
                <a:solidFill>
                  <a:srgbClr val="FFFFFF"/>
                </a:solidFill>
              </a:rPr>
              <a:t>Gold / Silver Spot</a:t>
            </a:r>
          </a:p>
          <a:p>
            <a:endParaRPr lang="en-US" dirty="0">
              <a:solidFill>
                <a:srgbClr val="FFFFFF"/>
              </a:solidFill>
            </a:endParaRPr>
          </a:p>
        </p:txBody>
      </p:sp>
      <p:sp>
        <p:nvSpPr>
          <p:cNvPr id="18" name="Text Placeholder 17">
            <a:extLst>
              <a:ext uri="{FF2B5EF4-FFF2-40B4-BE49-F238E27FC236}">
                <a16:creationId xmlns:a16="http://schemas.microsoft.com/office/drawing/2014/main" id="{87E60B97-E2D4-39DB-34A4-DDC27C439B3C}"/>
              </a:ext>
            </a:extLst>
          </p:cNvPr>
          <p:cNvSpPr>
            <a:spLocks noGrp="1"/>
          </p:cNvSpPr>
          <p:nvPr>
            <p:ph type="body" sz="quarter" idx="26"/>
          </p:nvPr>
        </p:nvSpPr>
        <p:spPr/>
        <p:txBody>
          <a:bodyPr/>
          <a:lstStyle/>
          <a:p>
            <a:r>
              <a:rPr lang="en-US" dirty="0">
                <a:solidFill>
                  <a:srgbClr val="FFFFFF"/>
                </a:solidFill>
              </a:rPr>
              <a:t>The Book of Clarence</a:t>
            </a:r>
          </a:p>
          <a:p>
            <a:r>
              <a:rPr lang="en-US" dirty="0">
                <a:solidFill>
                  <a:srgbClr val="FFFFFF"/>
                </a:solidFill>
              </a:rPr>
              <a:t>Gold / Silver Spot</a:t>
            </a:r>
          </a:p>
          <a:p>
            <a:endParaRPr lang="en-US" dirty="0">
              <a:solidFill>
                <a:srgbClr val="FFFFFF"/>
              </a:solidFill>
            </a:endParaRPr>
          </a:p>
        </p:txBody>
      </p:sp>
      <p:sp>
        <p:nvSpPr>
          <p:cNvPr id="19" name="Text Placeholder 18">
            <a:extLst>
              <a:ext uri="{FF2B5EF4-FFF2-40B4-BE49-F238E27FC236}">
                <a16:creationId xmlns:a16="http://schemas.microsoft.com/office/drawing/2014/main" id="{B414FB94-365F-87FE-65EA-270A0FBCD20A}"/>
              </a:ext>
            </a:extLst>
          </p:cNvPr>
          <p:cNvSpPr>
            <a:spLocks noGrp="1"/>
          </p:cNvSpPr>
          <p:nvPr>
            <p:ph type="body" sz="quarter" idx="27"/>
          </p:nvPr>
        </p:nvSpPr>
        <p:spPr/>
        <p:txBody>
          <a:bodyPr/>
          <a:lstStyle/>
          <a:p>
            <a:r>
              <a:rPr lang="en-US" dirty="0">
                <a:solidFill>
                  <a:srgbClr val="FFFFFF"/>
                </a:solidFill>
              </a:rPr>
              <a:t>The Holdovers</a:t>
            </a:r>
          </a:p>
          <a:p>
            <a:r>
              <a:rPr lang="en-US" dirty="0">
                <a:solidFill>
                  <a:srgbClr val="FFFFFF"/>
                </a:solidFill>
              </a:rPr>
              <a:t>Gold / Silver Spot</a:t>
            </a:r>
          </a:p>
          <a:p>
            <a:endParaRPr lang="en-US" dirty="0">
              <a:solidFill>
                <a:srgbClr val="FFFFFF"/>
              </a:solidFill>
            </a:endParaRPr>
          </a:p>
          <a:p>
            <a:endParaRPr lang="en-US" dirty="0">
              <a:solidFill>
                <a:srgbClr val="FFFFFF"/>
              </a:solidFill>
            </a:endParaRPr>
          </a:p>
        </p:txBody>
      </p:sp>
      <p:sp>
        <p:nvSpPr>
          <p:cNvPr id="10" name="Title 9">
            <a:extLst>
              <a:ext uri="{FF2B5EF4-FFF2-40B4-BE49-F238E27FC236}">
                <a16:creationId xmlns:a16="http://schemas.microsoft.com/office/drawing/2014/main" id="{46A82B63-AD33-215D-9C1E-D0566B09832B}"/>
              </a:ext>
            </a:extLst>
          </p:cNvPr>
          <p:cNvSpPr>
            <a:spLocks noGrp="1"/>
          </p:cNvSpPr>
          <p:nvPr>
            <p:ph type="title"/>
          </p:nvPr>
        </p:nvSpPr>
        <p:spPr/>
        <p:txBody>
          <a:bodyPr/>
          <a:lstStyle/>
          <a:p>
            <a:r>
              <a:rPr lang="en-US" dirty="0">
                <a:solidFill>
                  <a:srgbClr val="FFFFFF"/>
                </a:solidFill>
              </a:rPr>
              <a:t>AWARDS CONTENDERS 2024</a:t>
            </a:r>
          </a:p>
        </p:txBody>
      </p:sp>
      <p:sp>
        <p:nvSpPr>
          <p:cNvPr id="11" name="Text Placeholder 10">
            <a:extLst>
              <a:ext uri="{FF2B5EF4-FFF2-40B4-BE49-F238E27FC236}">
                <a16:creationId xmlns:a16="http://schemas.microsoft.com/office/drawing/2014/main" id="{119371AA-18A6-6487-C010-68E1CC540D43}"/>
              </a:ext>
            </a:extLst>
          </p:cNvPr>
          <p:cNvSpPr>
            <a:spLocks noGrp="1"/>
          </p:cNvSpPr>
          <p:nvPr>
            <p:ph type="body" sz="quarter" idx="12"/>
          </p:nvPr>
        </p:nvSpPr>
        <p:spPr/>
        <p:txBody>
          <a:bodyPr/>
          <a:lstStyle/>
          <a:p>
            <a:endParaRPr lang="en-US">
              <a:solidFill>
                <a:srgbClr val="FFFFFF"/>
              </a:solidFill>
            </a:endParaRPr>
          </a:p>
        </p:txBody>
      </p:sp>
      <p:pic>
        <p:nvPicPr>
          <p:cNvPr id="20" name="Picture 19">
            <a:extLst>
              <a:ext uri="{FF2B5EF4-FFF2-40B4-BE49-F238E27FC236}">
                <a16:creationId xmlns:a16="http://schemas.microsoft.com/office/drawing/2014/main" id="{B5F14156-BD06-849F-497C-14BE81B20E3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2224" y="6959163"/>
            <a:ext cx="1679509" cy="364060"/>
          </a:xfrm>
          <a:prstGeom prst="rect">
            <a:avLst/>
          </a:prstGeom>
        </p:spPr>
      </p:pic>
      <p:pic>
        <p:nvPicPr>
          <p:cNvPr id="5122" name="Picture 2" descr="Bob Marley's Rise to Fame Shown in 'One Love's First Trailer: Watch –  Billboard">
            <a:extLst>
              <a:ext uri="{FF2B5EF4-FFF2-40B4-BE49-F238E27FC236}">
                <a16:creationId xmlns:a16="http://schemas.microsoft.com/office/drawing/2014/main" id="{CC975716-9EC0-33DF-DD95-E836B5412163}"/>
              </a:ext>
            </a:extLst>
          </p:cNvPr>
          <p:cNvPicPr>
            <a:picLocks noGrp="1" noChangeAspect="1" noChangeArrowheads="1"/>
          </p:cNvPicPr>
          <p:nvPr>
            <p:ph type="pic" sz="quarter" idx="14"/>
          </p:nvPr>
        </p:nvPicPr>
        <p:blipFill>
          <a:blip r:embed="rId3" cstate="print">
            <a:extLst>
              <a:ext uri="{28A0092B-C50C-407E-A947-70E740481C1C}">
                <a14:useLocalDpi xmlns:a14="http://schemas.microsoft.com/office/drawing/2010/main" val="0"/>
              </a:ext>
            </a:extLst>
          </a:blip>
          <a:srcRect l="27701" r="27701"/>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Jeymes Samuel's The Book of Clarence Gets New Names Added to an Already  Heavy Hitting Ensemble Cast">
            <a:extLst>
              <a:ext uri="{FF2B5EF4-FFF2-40B4-BE49-F238E27FC236}">
                <a16:creationId xmlns:a16="http://schemas.microsoft.com/office/drawing/2014/main" id="{A5D6CBB4-AB78-CD8E-F727-242177A7BD88}"/>
              </a:ext>
            </a:extLst>
          </p:cNvPr>
          <p:cNvPicPr>
            <a:picLocks noGrp="1" noChangeAspect="1" noChangeArrowheads="1"/>
          </p:cNvPicPr>
          <p:nvPr>
            <p:ph type="pic" sz="quarter" idx="23"/>
          </p:nvPr>
        </p:nvPicPr>
        <p:blipFill>
          <a:blip r:embed="rId4">
            <a:extLst>
              <a:ext uri="{28A0092B-C50C-407E-A947-70E740481C1C}">
                <a14:useLocalDpi xmlns:a14="http://schemas.microsoft.com/office/drawing/2010/main" val="0"/>
              </a:ext>
            </a:extLst>
          </a:blip>
          <a:srcRect l="32199" r="32199"/>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The Holdovers' Trailer: Alexander Payne Reunites With Paul Giamatti –  IndieWire">
            <a:extLst>
              <a:ext uri="{FF2B5EF4-FFF2-40B4-BE49-F238E27FC236}">
                <a16:creationId xmlns:a16="http://schemas.microsoft.com/office/drawing/2014/main" id="{59686834-F060-5D6B-10CB-6EB2B3E9D5B5}"/>
              </a:ext>
            </a:extLst>
          </p:cNvPr>
          <p:cNvPicPr>
            <a:picLocks noGrp="1" noChangeAspect="1" noChangeArrowheads="1"/>
          </p:cNvPicPr>
          <p:nvPr>
            <p:ph type="pic" sz="quarter" idx="24"/>
          </p:nvPr>
        </p:nvPicPr>
        <p:blipFill rotWithShape="1">
          <a:blip r:embed="rId5" cstate="print">
            <a:extLst>
              <a:ext uri="{28A0092B-C50C-407E-A947-70E740481C1C}">
                <a14:useLocalDpi xmlns:a14="http://schemas.microsoft.com/office/drawing/2010/main" val="0"/>
              </a:ext>
            </a:extLst>
          </a:blip>
          <a:srcRect l="29619" r="36315"/>
          <a:stretch/>
        </p:blipFill>
        <p:spPr bwMode="auto">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8665AC51-F998-920B-0703-65F41B42081B}"/>
              </a:ext>
            </a:extLst>
          </p:cNvPr>
          <p:cNvCxnSpPr>
            <a:cxnSpLocks/>
          </p:cNvCxnSpPr>
          <p:nvPr/>
        </p:nvCxnSpPr>
        <p:spPr>
          <a:xfrm>
            <a:off x="353" y="706678"/>
            <a:ext cx="4245076" cy="0"/>
          </a:xfrm>
          <a:prstGeom prst="line">
            <a:avLst/>
          </a:prstGeom>
          <a:noFill/>
          <a:ln w="19050" cap="flat" cmpd="sng" algn="ctr">
            <a:solidFill>
              <a:srgbClr val="FFFFFF"/>
            </a:solidFill>
            <a:prstDash val="solid"/>
          </a:ln>
          <a:effectLst/>
        </p:spPr>
      </p:cxnSp>
      <p:sp>
        <p:nvSpPr>
          <p:cNvPr id="14" name="Rectangle 14">
            <a:extLst>
              <a:ext uri="{FF2B5EF4-FFF2-40B4-BE49-F238E27FC236}">
                <a16:creationId xmlns:a16="http://schemas.microsoft.com/office/drawing/2014/main" id="{3160A9EC-6A92-B0DF-5630-07D21E9EEC5E}"/>
              </a:ext>
            </a:extLst>
          </p:cNvPr>
          <p:cNvSpPr>
            <a:spLocks noChangeArrowheads="1"/>
          </p:cNvSpPr>
          <p:nvPr/>
        </p:nvSpPr>
        <p:spPr bwMode="auto">
          <a:xfrm>
            <a:off x="0" y="0"/>
            <a:ext cx="1344295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2962FF"/>
                </a:solidFill>
                <a:effectLst/>
                <a:latin typeface="Roboto" panose="02000000000000000000" pitchFamily="2" charset="0"/>
              </a:rPr>
              <a:t>  </a:t>
            </a:r>
            <a:r>
              <a:rPr kumimoji="0" lang="en-US" altLang="en-US" sz="30700" b="0" i="0" u="none" strike="noStrike" cap="none" normalizeH="0" baseline="0">
                <a:ln>
                  <a:noFill/>
                </a:ln>
                <a:solidFill>
                  <a:srgbClr val="2962FF"/>
                </a:solidFill>
                <a:effectLst/>
                <a:latin typeface="Roboto" panose="02000000000000000000" pitchFamily="2" charset="0"/>
                <a:hlinkClick r:id="rId6"/>
              </a:rPr>
              <a:t>    </a:t>
            </a:r>
            <a:r>
              <a:rPr kumimoji="0" lang="en-US" altLang="en-US" sz="1800" b="0" i="0" u="none" strike="noStrike" cap="none" normalizeH="0" baseline="0">
                <a:ln>
                  <a:noFill/>
                </a:ln>
                <a:solidFill>
                  <a:srgbClr val="2962FF"/>
                </a:solidFill>
                <a:effectLst/>
                <a:latin typeface="Roboto" panose="02000000000000000000" pitchFamily="2" charset="0"/>
                <a:hlinkClick r:id="rId6"/>
              </a:rPr>
              <a:t>  </a:t>
            </a:r>
            <a:r>
              <a:rPr kumimoji="0" lang="en-US" altLang="en-US" sz="21800" b="0" i="0" u="none" strike="noStrike" cap="none" normalizeH="0" baseline="0">
                <a:ln>
                  <a:noFill/>
                </a:ln>
                <a:solidFill>
                  <a:srgbClr val="2962FF"/>
                </a:solidFill>
                <a:effectLst/>
                <a:latin typeface="Roboto" panose="02000000000000000000" pitchFamily="2" charset="0"/>
                <a:hlinkClick r:id="rId6"/>
              </a:rPr>
              <a:t>    </a:t>
            </a:r>
            <a:r>
              <a:rPr kumimoji="0" lang="en-US" altLang="en-US" sz="700" b="0" i="0" u="none" strike="noStrike" cap="none" normalizeH="0" baseline="0">
                <a:ln>
                  <a:noFill/>
                </a:ln>
                <a:solidFill>
                  <a:srgbClr val="F1F3F4"/>
                </a:solidFill>
                <a:effectLst/>
                <a:latin typeface="Roboto-Medium"/>
                <a:hlinkClick r:id="rId6"/>
              </a:rPr>
              <a:t>259 × 38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15" name="Picture 15" descr="Poor Things (film) - Wikipedia">
            <a:hlinkClick r:id="rId6"/>
            <a:extLst>
              <a:ext uri="{FF2B5EF4-FFF2-40B4-BE49-F238E27FC236}">
                <a16:creationId xmlns:a16="http://schemas.microsoft.com/office/drawing/2014/main" id="{C3E2B28E-C9D1-5AD8-9B77-F6A5F993C4A4}"/>
              </a:ext>
            </a:extLst>
          </p:cNvPr>
          <p:cNvPicPr>
            <a:picLocks noGrp="1" noChangeAspect="1" noChangeArrowheads="1"/>
          </p:cNvPicPr>
          <p:nvPr>
            <p:ph type="pic" sz="quarter" idx="22"/>
          </p:nvPr>
        </p:nvPicPr>
        <p:blipFill>
          <a:blip r:embed="rId7">
            <a:extLst>
              <a:ext uri="{28A0092B-C50C-407E-A947-70E740481C1C}">
                <a14:useLocalDpi xmlns:a14="http://schemas.microsoft.com/office/drawing/2010/main" val="0"/>
              </a:ext>
            </a:extLst>
          </a:blip>
          <a:srcRect t="171" b="171"/>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7839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C5783F9-EB52-4FC1-B366-74DC47C7B2EF}"/>
              </a:ext>
            </a:extLst>
          </p:cNvPr>
          <p:cNvSpPr>
            <a:spLocks noGrp="1"/>
          </p:cNvSpPr>
          <p:nvPr>
            <p:ph type="body" sz="quarter" idx="10"/>
          </p:nvPr>
        </p:nvSpPr>
        <p:spPr>
          <a:xfrm>
            <a:off x="2708275" y="1881569"/>
            <a:ext cx="8026400" cy="1231900"/>
          </a:xfrm>
        </p:spPr>
        <p:txBody>
          <a:bodyPr/>
          <a:lstStyle/>
          <a:p>
            <a:r>
              <a:rPr lang="en-GB" dirty="0">
                <a:solidFill>
                  <a:srgbClr val="917641"/>
                </a:solidFill>
              </a:rPr>
              <a:t>GOLD OPTION</a:t>
            </a:r>
          </a:p>
          <a:p>
            <a:r>
              <a:rPr lang="en-GB" sz="2400" dirty="0">
                <a:solidFill>
                  <a:srgbClr val="917641"/>
                </a:solidFill>
              </a:rPr>
              <a:t> 13 FILMS, 11 GOLD SPOTS, 1 SILVER, 1 FILM PACK, 70”</a:t>
            </a:r>
            <a:endParaRPr lang="en-GB" dirty="0">
              <a:solidFill>
                <a:srgbClr val="917641"/>
              </a:solidFill>
            </a:endParaRPr>
          </a:p>
        </p:txBody>
      </p:sp>
      <p:sp>
        <p:nvSpPr>
          <p:cNvPr id="7" name="Text Placeholder 6">
            <a:extLst>
              <a:ext uri="{FF2B5EF4-FFF2-40B4-BE49-F238E27FC236}">
                <a16:creationId xmlns:a16="http://schemas.microsoft.com/office/drawing/2014/main" id="{177C5BAA-8417-4E96-B751-AEDB0AB2CF2C}"/>
              </a:ext>
            </a:extLst>
          </p:cNvPr>
          <p:cNvSpPr>
            <a:spLocks noGrp="1"/>
          </p:cNvSpPr>
          <p:nvPr>
            <p:ph type="body" sz="quarter" idx="11"/>
          </p:nvPr>
        </p:nvSpPr>
        <p:spPr>
          <a:xfrm>
            <a:off x="1460681" y="3594224"/>
            <a:ext cx="10521588" cy="1013797"/>
          </a:xfrm>
        </p:spPr>
        <p:txBody>
          <a:bodyPr/>
          <a:lstStyle/>
          <a:p>
            <a:pPr>
              <a:lnSpc>
                <a:spcPct val="100000"/>
              </a:lnSpc>
            </a:pPr>
            <a:r>
              <a:rPr lang="en-GB" sz="5400" dirty="0"/>
              <a:t>ADMISSIONS: 3.6M</a:t>
            </a:r>
          </a:p>
          <a:p>
            <a:pPr>
              <a:lnSpc>
                <a:spcPct val="100000"/>
              </a:lnSpc>
            </a:pPr>
            <a:r>
              <a:rPr lang="en-GB" sz="5400" dirty="0"/>
              <a:t>RATECARD: £1.1M</a:t>
            </a:r>
          </a:p>
          <a:p>
            <a:pPr>
              <a:lnSpc>
                <a:spcPct val="100000"/>
              </a:lnSpc>
            </a:pPr>
            <a:r>
              <a:rPr lang="en-GB" sz="5400" dirty="0"/>
              <a:t>GROSS BUDGET: £650K</a:t>
            </a:r>
          </a:p>
        </p:txBody>
      </p:sp>
      <p:sp>
        <p:nvSpPr>
          <p:cNvPr id="2" name="Rectangle 1">
            <a:extLst>
              <a:ext uri="{FF2B5EF4-FFF2-40B4-BE49-F238E27FC236}">
                <a16:creationId xmlns:a16="http://schemas.microsoft.com/office/drawing/2014/main" id="{DA44C8D7-470D-02A2-550A-1060472F7340}"/>
              </a:ext>
            </a:extLst>
          </p:cNvPr>
          <p:cNvSpPr/>
          <p:nvPr/>
        </p:nvSpPr>
        <p:spPr>
          <a:xfrm>
            <a:off x="10431625" y="353568"/>
            <a:ext cx="2705877" cy="858416"/>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dirty="0">
                <a:solidFill>
                  <a:schemeClr val="bg1"/>
                </a:solidFill>
              </a:rPr>
              <a:t>BASED ON 40% AGENCY DISCOUNT</a:t>
            </a:r>
          </a:p>
        </p:txBody>
      </p:sp>
    </p:spTree>
    <p:extLst>
      <p:ext uri="{BB962C8B-B14F-4D97-AF65-F5344CB8AC3E}">
        <p14:creationId xmlns:p14="http://schemas.microsoft.com/office/powerpoint/2010/main" val="1754653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C5783F9-EB52-4FC1-B366-74DC47C7B2EF}"/>
              </a:ext>
            </a:extLst>
          </p:cNvPr>
          <p:cNvSpPr>
            <a:spLocks noGrp="1"/>
          </p:cNvSpPr>
          <p:nvPr>
            <p:ph type="body" sz="quarter" idx="10"/>
          </p:nvPr>
        </p:nvSpPr>
        <p:spPr>
          <a:xfrm>
            <a:off x="2708275" y="1881569"/>
            <a:ext cx="8026400" cy="1231900"/>
          </a:xfrm>
        </p:spPr>
        <p:txBody>
          <a:bodyPr/>
          <a:lstStyle/>
          <a:p>
            <a:r>
              <a:rPr lang="en-GB" dirty="0">
                <a:solidFill>
                  <a:schemeClr val="accent6">
                    <a:lumMod val="60000"/>
                    <a:lumOff val="40000"/>
                  </a:schemeClr>
                </a:solidFill>
              </a:rPr>
              <a:t>SILVER OPTION</a:t>
            </a:r>
          </a:p>
          <a:p>
            <a:r>
              <a:rPr lang="en-GB" sz="2400" dirty="0">
                <a:solidFill>
                  <a:schemeClr val="accent6">
                    <a:lumMod val="60000"/>
                    <a:lumOff val="40000"/>
                  </a:schemeClr>
                </a:solidFill>
              </a:rPr>
              <a:t> 13 FILMS, 12 SILVER SPOTS, 1 FILM PACK, 70”</a:t>
            </a:r>
            <a:endParaRPr lang="en-GB" dirty="0">
              <a:solidFill>
                <a:schemeClr val="accent6">
                  <a:lumMod val="60000"/>
                  <a:lumOff val="40000"/>
                </a:schemeClr>
              </a:solidFill>
            </a:endParaRPr>
          </a:p>
        </p:txBody>
      </p:sp>
      <p:sp>
        <p:nvSpPr>
          <p:cNvPr id="7" name="Text Placeholder 6">
            <a:extLst>
              <a:ext uri="{FF2B5EF4-FFF2-40B4-BE49-F238E27FC236}">
                <a16:creationId xmlns:a16="http://schemas.microsoft.com/office/drawing/2014/main" id="{177C5BAA-8417-4E96-B751-AEDB0AB2CF2C}"/>
              </a:ext>
            </a:extLst>
          </p:cNvPr>
          <p:cNvSpPr>
            <a:spLocks noGrp="1"/>
          </p:cNvSpPr>
          <p:nvPr>
            <p:ph type="body" sz="quarter" idx="11"/>
          </p:nvPr>
        </p:nvSpPr>
        <p:spPr>
          <a:xfrm>
            <a:off x="1460681" y="3594224"/>
            <a:ext cx="10521588" cy="1013797"/>
          </a:xfrm>
        </p:spPr>
        <p:txBody>
          <a:bodyPr/>
          <a:lstStyle/>
          <a:p>
            <a:pPr>
              <a:lnSpc>
                <a:spcPct val="100000"/>
              </a:lnSpc>
            </a:pPr>
            <a:r>
              <a:rPr lang="en-GB" sz="5400" dirty="0"/>
              <a:t>ADMISSIONS: 4M</a:t>
            </a:r>
          </a:p>
          <a:p>
            <a:pPr>
              <a:lnSpc>
                <a:spcPct val="100000"/>
              </a:lnSpc>
            </a:pPr>
            <a:r>
              <a:rPr lang="en-GB" sz="5400" dirty="0"/>
              <a:t>RATECARD: £1M</a:t>
            </a:r>
          </a:p>
          <a:p>
            <a:pPr>
              <a:lnSpc>
                <a:spcPct val="100000"/>
              </a:lnSpc>
            </a:pPr>
            <a:r>
              <a:rPr lang="en-GB" sz="5400" dirty="0"/>
              <a:t>GROSS BUDGET: £600K </a:t>
            </a:r>
          </a:p>
        </p:txBody>
      </p:sp>
      <p:sp>
        <p:nvSpPr>
          <p:cNvPr id="2" name="Rectangle 1">
            <a:extLst>
              <a:ext uri="{FF2B5EF4-FFF2-40B4-BE49-F238E27FC236}">
                <a16:creationId xmlns:a16="http://schemas.microsoft.com/office/drawing/2014/main" id="{7E25AFB7-691D-59E1-3BDF-BE04A53CD197}"/>
              </a:ext>
            </a:extLst>
          </p:cNvPr>
          <p:cNvSpPr/>
          <p:nvPr/>
        </p:nvSpPr>
        <p:spPr>
          <a:xfrm>
            <a:off x="10431625" y="353568"/>
            <a:ext cx="2705877" cy="858416"/>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dirty="0">
                <a:solidFill>
                  <a:schemeClr val="bg1"/>
                </a:solidFill>
              </a:rPr>
              <a:t>BASED ON 40% AGENCY DISCOUNT</a:t>
            </a:r>
          </a:p>
        </p:txBody>
      </p:sp>
    </p:spTree>
    <p:extLst>
      <p:ext uri="{BB962C8B-B14F-4D97-AF65-F5344CB8AC3E}">
        <p14:creationId xmlns:p14="http://schemas.microsoft.com/office/powerpoint/2010/main" val="228338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5E65936-E9A5-5A0A-6EB9-9EB6340EA366}"/>
              </a:ext>
            </a:extLst>
          </p:cNvPr>
          <p:cNvSpPr>
            <a:spLocks noGrp="1"/>
          </p:cNvSpPr>
          <p:nvPr>
            <p:ph type="body" sz="quarter" idx="10"/>
          </p:nvPr>
        </p:nvSpPr>
        <p:spPr/>
        <p:txBody>
          <a:bodyPr/>
          <a:lstStyle/>
          <a:p>
            <a:r>
              <a:rPr lang="en-GB" dirty="0"/>
              <a:t>THANK YOU!</a:t>
            </a:r>
          </a:p>
        </p:txBody>
      </p:sp>
      <p:sp>
        <p:nvSpPr>
          <p:cNvPr id="3" name="Text Placeholder 2">
            <a:extLst>
              <a:ext uri="{FF2B5EF4-FFF2-40B4-BE49-F238E27FC236}">
                <a16:creationId xmlns:a16="http://schemas.microsoft.com/office/drawing/2014/main" id="{30F7407D-7AD5-159B-2123-C39D6B50782D}"/>
              </a:ext>
            </a:extLst>
          </p:cNvPr>
          <p:cNvSpPr>
            <a:spLocks noGrp="1"/>
          </p:cNvSpPr>
          <p:nvPr>
            <p:ph type="body" sz="quarter" idx="12"/>
          </p:nvPr>
        </p:nvSpPr>
        <p:spPr/>
        <p:txBody>
          <a:bodyPr/>
          <a:lstStyle/>
          <a:p>
            <a:endParaRPr lang="en-GB"/>
          </a:p>
        </p:txBody>
      </p:sp>
    </p:spTree>
    <p:extLst>
      <p:ext uri="{BB962C8B-B14F-4D97-AF65-F5344CB8AC3E}">
        <p14:creationId xmlns:p14="http://schemas.microsoft.com/office/powerpoint/2010/main" val="195503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B995EF8-53DD-4781-B74C-63150D8BB1B9}"/>
              </a:ext>
            </a:extLst>
          </p:cNvPr>
          <p:cNvSpPr>
            <a:spLocks noGrp="1"/>
          </p:cNvSpPr>
          <p:nvPr>
            <p:ph type="body" sz="quarter" idx="11"/>
          </p:nvPr>
        </p:nvSpPr>
        <p:spPr>
          <a:xfrm>
            <a:off x="535993" y="1483755"/>
            <a:ext cx="12370964" cy="3247552"/>
          </a:xfrm>
        </p:spPr>
        <p:txBody>
          <a:bodyPr/>
          <a:lstStyle/>
          <a:p>
            <a:r>
              <a:rPr lang="en-GB" dirty="0"/>
              <a:t>ENGAGE THE </a:t>
            </a:r>
            <a:r>
              <a:rPr lang="en-GB" dirty="0">
                <a:solidFill>
                  <a:srgbClr val="917641"/>
                </a:solidFill>
              </a:rPr>
              <a:t>PUREST UPMARKET AUDIENCE </a:t>
            </a:r>
            <a:r>
              <a:rPr lang="en-GB" dirty="0"/>
              <a:t>IN MAINSTREAM ENTERTAINMENT</a:t>
            </a:r>
          </a:p>
        </p:txBody>
      </p:sp>
    </p:spTree>
    <p:extLst>
      <p:ext uri="{BB962C8B-B14F-4D97-AF65-F5344CB8AC3E}">
        <p14:creationId xmlns:p14="http://schemas.microsoft.com/office/powerpoint/2010/main" val="1996489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89AA8C-E499-4F1A-BB11-CBA3044D453B}"/>
              </a:ext>
            </a:extLst>
          </p:cNvPr>
          <p:cNvSpPr>
            <a:spLocks noGrp="1"/>
          </p:cNvSpPr>
          <p:nvPr>
            <p:ph type="title"/>
          </p:nvPr>
        </p:nvSpPr>
        <p:spPr/>
        <p:txBody>
          <a:bodyPr/>
          <a:lstStyle/>
          <a:p>
            <a:r>
              <a:rPr lang="en-GB" dirty="0"/>
              <a:t>AWARDS SEASON 2024</a:t>
            </a:r>
          </a:p>
        </p:txBody>
      </p:sp>
      <p:sp>
        <p:nvSpPr>
          <p:cNvPr id="5" name="Text Placeholder 4">
            <a:extLst>
              <a:ext uri="{FF2B5EF4-FFF2-40B4-BE49-F238E27FC236}">
                <a16:creationId xmlns:a16="http://schemas.microsoft.com/office/drawing/2014/main" id="{75361FA0-51FA-4ADC-993E-C5DEC53B699D}"/>
              </a:ext>
            </a:extLst>
          </p:cNvPr>
          <p:cNvSpPr>
            <a:spLocks noGrp="1"/>
          </p:cNvSpPr>
          <p:nvPr>
            <p:ph type="body" sz="quarter" idx="12"/>
          </p:nvPr>
        </p:nvSpPr>
        <p:spPr/>
        <p:txBody>
          <a:bodyPr/>
          <a:lstStyle/>
          <a:p>
            <a:r>
              <a:rPr lang="en-GB" dirty="0"/>
              <a:t>At the start of every new year, the world of film transforms. Focus shifts towards more artistic and thought-provoking titles, in celebration of the craft of film making.</a:t>
            </a:r>
          </a:p>
          <a:p>
            <a:endParaRPr lang="en-GB" dirty="0"/>
          </a:p>
        </p:txBody>
      </p:sp>
      <p:sp>
        <p:nvSpPr>
          <p:cNvPr id="6" name="Text Placeholder 5">
            <a:extLst>
              <a:ext uri="{FF2B5EF4-FFF2-40B4-BE49-F238E27FC236}">
                <a16:creationId xmlns:a16="http://schemas.microsoft.com/office/drawing/2014/main" id="{25B1524B-6FF9-4513-B03F-03CA7A144BC9}"/>
              </a:ext>
            </a:extLst>
          </p:cNvPr>
          <p:cNvSpPr>
            <a:spLocks noGrp="1"/>
          </p:cNvSpPr>
          <p:nvPr>
            <p:ph type="body" sz="quarter" idx="13"/>
          </p:nvPr>
        </p:nvSpPr>
        <p:spPr>
          <a:xfrm>
            <a:off x="233363" y="1487125"/>
            <a:ext cx="6010275" cy="5339126"/>
          </a:xfrm>
        </p:spPr>
        <p:txBody>
          <a:bodyPr/>
          <a:lstStyle/>
          <a:p>
            <a:pPr algn="just"/>
            <a:endParaRPr lang="en-GB" dirty="0"/>
          </a:p>
          <a:p>
            <a:pPr algn="just"/>
            <a:r>
              <a:rPr lang="en-GB" dirty="0"/>
              <a:t>Film titans and new comers from across the industry come together to exhibit their best work at the cinema in hope of success at the Awards Season. The quality of content is second to none, generating buzz across the world as millions tune in to experience the best in film.</a:t>
            </a:r>
          </a:p>
          <a:p>
            <a:pPr algn="just"/>
            <a:endParaRPr lang="en-GB" dirty="0"/>
          </a:p>
          <a:p>
            <a:pPr algn="just"/>
            <a:r>
              <a:rPr lang="en-GB" dirty="0"/>
              <a:t>As the world of film transforms, so too does the make-up of the cinema audience. The Awards Season attracts an even more upmarket and discerning audience to the cinema – perhaps the purest upmarket audience in mainstream entertainment.</a:t>
            </a:r>
          </a:p>
          <a:p>
            <a:pPr algn="just"/>
            <a:endParaRPr lang="en-GB" dirty="0"/>
          </a:p>
          <a:p>
            <a:pPr algn="just"/>
            <a:r>
              <a:rPr lang="en-GB" dirty="0"/>
              <a:t>The Awards Season Sponsorship offers the partner brand an exclusive opportunity to create fame in line with this year’s greatest content and the upmarket audience that consumes it. </a:t>
            </a:r>
          </a:p>
          <a:p>
            <a:pPr algn="just"/>
            <a:endParaRPr lang="en-GB" dirty="0"/>
          </a:p>
          <a:p>
            <a:pPr algn="just"/>
            <a:r>
              <a:rPr lang="en-GB" dirty="0"/>
              <a:t>The Sponsorship package is carefully selected based on industry tips, and early critic reviews from film festivals such as TIFF and LFF. Your brand would buy into a premium position across these films with options to either run in the Gold Spot (the final commercial message before the film) or the Silver Spot (the final message before the trailers).</a:t>
            </a:r>
          </a:p>
        </p:txBody>
      </p:sp>
      <p:pic>
        <p:nvPicPr>
          <p:cNvPr id="1255428" name="Picture 4" descr="Facts About Lashana Lynch, BAFTA's 2022 Rising Star | POPSUGAR  Entertainment UK">
            <a:extLst>
              <a:ext uri="{FF2B5EF4-FFF2-40B4-BE49-F238E27FC236}">
                <a16:creationId xmlns:a16="http://schemas.microsoft.com/office/drawing/2014/main" id="{0FA94492-D625-45DB-87F1-D9AA10F2EE40}"/>
              </a:ext>
            </a:extLst>
          </p:cNvPr>
          <p:cNvPicPr>
            <a:picLocks noGrp="1" noChangeAspect="1" noChangeArrowheads="1"/>
          </p:cNvPicPr>
          <p:nvPr>
            <p:ph type="pic" sz="quarter" idx="10"/>
          </p:nvPr>
        </p:nvPicPr>
        <p:blipFill>
          <a:blip r:embed="rId2">
            <a:extLst>
              <a:ext uri="{28A0092B-C50C-407E-A947-70E740481C1C}">
                <a14:useLocalDpi xmlns:a14="http://schemas.microsoft.com/office/drawing/2010/main" val="0"/>
              </a:ext>
            </a:extLst>
          </a:blip>
          <a:srcRect l="5553" r="5553"/>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C0B35CA9-46CD-468F-AD88-524351117228}"/>
              </a:ext>
            </a:extLst>
          </p:cNvPr>
          <p:cNvCxnSpPr>
            <a:cxnSpLocks/>
          </p:cNvCxnSpPr>
          <p:nvPr/>
        </p:nvCxnSpPr>
        <p:spPr>
          <a:xfrm>
            <a:off x="353" y="706678"/>
            <a:ext cx="3465861" cy="0"/>
          </a:xfrm>
          <a:prstGeom prst="line">
            <a:avLst/>
          </a:prstGeom>
          <a:noFill/>
          <a:ln w="19050" cap="flat" cmpd="sng" algn="ctr">
            <a:solidFill>
              <a:srgbClr val="FFFFFF"/>
            </a:solidFill>
            <a:prstDash val="solid"/>
          </a:ln>
          <a:effectLst/>
        </p:spPr>
      </p:cxnSp>
    </p:spTree>
    <p:extLst>
      <p:ext uri="{BB962C8B-B14F-4D97-AF65-F5344CB8AC3E}">
        <p14:creationId xmlns:p14="http://schemas.microsoft.com/office/powerpoint/2010/main" val="3786641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2C35F2-DFF5-45EE-A4D7-BECA774F82CF}"/>
              </a:ext>
            </a:extLst>
          </p:cNvPr>
          <p:cNvSpPr>
            <a:spLocks noGrp="1"/>
          </p:cNvSpPr>
          <p:nvPr>
            <p:ph type="title"/>
          </p:nvPr>
        </p:nvSpPr>
        <p:spPr/>
        <p:txBody>
          <a:bodyPr/>
          <a:lstStyle/>
          <a:p>
            <a:r>
              <a:rPr lang="en-GB" dirty="0">
                <a:solidFill>
                  <a:srgbClr val="FFFFFF"/>
                </a:solidFill>
              </a:rPr>
              <a:t>A SUMMARY OF THE OPPORTUNITY</a:t>
            </a:r>
          </a:p>
        </p:txBody>
      </p:sp>
      <p:sp>
        <p:nvSpPr>
          <p:cNvPr id="4" name="Text Placeholder 3">
            <a:extLst>
              <a:ext uri="{FF2B5EF4-FFF2-40B4-BE49-F238E27FC236}">
                <a16:creationId xmlns:a16="http://schemas.microsoft.com/office/drawing/2014/main" id="{DB1CDAD8-0D58-4445-9E21-A9A5C33A9937}"/>
              </a:ext>
            </a:extLst>
          </p:cNvPr>
          <p:cNvSpPr>
            <a:spLocks noGrp="1"/>
          </p:cNvSpPr>
          <p:nvPr>
            <p:ph type="body" sz="quarter" idx="12"/>
          </p:nvPr>
        </p:nvSpPr>
        <p:spPr>
          <a:xfrm>
            <a:off x="233363" y="904395"/>
            <a:ext cx="9112656" cy="300272"/>
          </a:xfrm>
        </p:spPr>
        <p:txBody>
          <a:bodyPr/>
          <a:lstStyle/>
          <a:p>
            <a:r>
              <a:rPr lang="en-GB" dirty="0">
                <a:solidFill>
                  <a:srgbClr val="FFFFFF"/>
                </a:solidFill>
              </a:rPr>
              <a:t>The perfect platform to shift perceptions of your brand, create fame, and to engage an upmarket audience</a:t>
            </a:r>
          </a:p>
        </p:txBody>
      </p:sp>
      <p:sp>
        <p:nvSpPr>
          <p:cNvPr id="8" name="Text Placeholder 7">
            <a:extLst>
              <a:ext uri="{FF2B5EF4-FFF2-40B4-BE49-F238E27FC236}">
                <a16:creationId xmlns:a16="http://schemas.microsoft.com/office/drawing/2014/main" id="{2D6F2731-2E38-438A-99EE-38E58A4028ED}"/>
              </a:ext>
            </a:extLst>
          </p:cNvPr>
          <p:cNvSpPr>
            <a:spLocks noGrp="1"/>
          </p:cNvSpPr>
          <p:nvPr>
            <p:ph type="body" sz="quarter" idx="19"/>
          </p:nvPr>
        </p:nvSpPr>
        <p:spPr>
          <a:xfrm>
            <a:off x="1072076" y="5491561"/>
            <a:ext cx="3600001" cy="1047156"/>
          </a:xfrm>
        </p:spPr>
        <p:txBody>
          <a:bodyPr/>
          <a:lstStyle/>
          <a:p>
            <a:pPr algn="ctr"/>
            <a:r>
              <a:rPr lang="en-GB" dirty="0">
                <a:solidFill>
                  <a:srgbClr val="FFFFFF"/>
                </a:solidFill>
              </a:rPr>
              <a:t>Engage an ABC1 audience across a breadth of high quality titles. </a:t>
            </a:r>
          </a:p>
          <a:p>
            <a:pPr algn="ctr"/>
            <a:endParaRPr lang="en-GB" dirty="0">
              <a:solidFill>
                <a:srgbClr val="FFFFFF"/>
              </a:solidFill>
            </a:endParaRPr>
          </a:p>
          <a:p>
            <a:pPr algn="ctr"/>
            <a:r>
              <a:rPr lang="en-GB" dirty="0">
                <a:solidFill>
                  <a:srgbClr val="FFFFFF"/>
                </a:solidFill>
              </a:rPr>
              <a:t>The predicted ABC1 profile for the Awards Season package based on 8 awards hopefuls is 78%.</a:t>
            </a:r>
          </a:p>
        </p:txBody>
      </p:sp>
      <p:sp>
        <p:nvSpPr>
          <p:cNvPr id="9" name="Text Placeholder 8">
            <a:extLst>
              <a:ext uri="{FF2B5EF4-FFF2-40B4-BE49-F238E27FC236}">
                <a16:creationId xmlns:a16="http://schemas.microsoft.com/office/drawing/2014/main" id="{2D47D4E2-D901-457A-A781-01F18648D952}"/>
              </a:ext>
            </a:extLst>
          </p:cNvPr>
          <p:cNvSpPr>
            <a:spLocks noGrp="1"/>
          </p:cNvSpPr>
          <p:nvPr>
            <p:ph type="body" sz="quarter" idx="20"/>
          </p:nvPr>
        </p:nvSpPr>
        <p:spPr>
          <a:xfrm>
            <a:off x="4921474" y="5491560"/>
            <a:ext cx="3600001" cy="1047156"/>
          </a:xfrm>
        </p:spPr>
        <p:txBody>
          <a:bodyPr/>
          <a:lstStyle/>
          <a:p>
            <a:pPr algn="ctr"/>
            <a:r>
              <a:rPr lang="en-GB" dirty="0">
                <a:solidFill>
                  <a:srgbClr val="FFFFFF"/>
                </a:solidFill>
              </a:rPr>
              <a:t>Build an association between your brand and high quality, artistic and culturally significant moments in film.</a:t>
            </a:r>
          </a:p>
          <a:p>
            <a:pPr algn="ctr"/>
            <a:endParaRPr lang="en-GB" dirty="0">
              <a:solidFill>
                <a:srgbClr val="FFFFFF"/>
              </a:solidFill>
            </a:endParaRPr>
          </a:p>
          <a:p>
            <a:pPr algn="ctr"/>
            <a:r>
              <a:rPr lang="en-GB" dirty="0">
                <a:solidFill>
                  <a:srgbClr val="FFFFFF"/>
                </a:solidFill>
              </a:rPr>
              <a:t>The Awards Season represents the best in film, and is a powerful platform to shift perceptions of your brand.</a:t>
            </a:r>
          </a:p>
          <a:p>
            <a:pPr algn="ctr"/>
            <a:endParaRPr lang="en-GB" dirty="0">
              <a:solidFill>
                <a:srgbClr val="FFFFFF"/>
              </a:solidFill>
            </a:endParaRPr>
          </a:p>
        </p:txBody>
      </p:sp>
      <p:sp>
        <p:nvSpPr>
          <p:cNvPr id="10" name="Text Placeholder 9">
            <a:extLst>
              <a:ext uri="{FF2B5EF4-FFF2-40B4-BE49-F238E27FC236}">
                <a16:creationId xmlns:a16="http://schemas.microsoft.com/office/drawing/2014/main" id="{EA0E0791-FE5A-42CE-BD4D-85C7A1F6ABD8}"/>
              </a:ext>
            </a:extLst>
          </p:cNvPr>
          <p:cNvSpPr>
            <a:spLocks noGrp="1"/>
          </p:cNvSpPr>
          <p:nvPr>
            <p:ph type="body" sz="quarter" idx="21"/>
          </p:nvPr>
        </p:nvSpPr>
        <p:spPr>
          <a:xfrm>
            <a:off x="8768107" y="5491560"/>
            <a:ext cx="3600001" cy="1047156"/>
          </a:xfrm>
        </p:spPr>
        <p:txBody>
          <a:bodyPr/>
          <a:lstStyle/>
          <a:p>
            <a:pPr algn="ctr"/>
            <a:r>
              <a:rPr lang="en-GB" dirty="0">
                <a:solidFill>
                  <a:srgbClr val="FFFFFF"/>
                </a:solidFill>
              </a:rPr>
              <a:t>Cinema’s ability to grab and hold attention is unmatched, which, combined with the impactful nature of the big screen means that cinema is the perfect platform to tell stories and build an emotional connection with your customers.</a:t>
            </a:r>
          </a:p>
        </p:txBody>
      </p:sp>
      <p:pic>
        <p:nvPicPr>
          <p:cNvPr id="11" name="Picture 10">
            <a:extLst>
              <a:ext uri="{FF2B5EF4-FFF2-40B4-BE49-F238E27FC236}">
                <a16:creationId xmlns:a16="http://schemas.microsoft.com/office/drawing/2014/main" id="{6439E9F2-65A8-4D9C-828D-58071F08D3C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2224" y="6959163"/>
            <a:ext cx="1679509" cy="364060"/>
          </a:xfrm>
          <a:prstGeom prst="rect">
            <a:avLst/>
          </a:prstGeom>
        </p:spPr>
      </p:pic>
      <p:cxnSp>
        <p:nvCxnSpPr>
          <p:cNvPr id="12" name="Straight Connector 11">
            <a:extLst>
              <a:ext uri="{FF2B5EF4-FFF2-40B4-BE49-F238E27FC236}">
                <a16:creationId xmlns:a16="http://schemas.microsoft.com/office/drawing/2014/main" id="{CAF0D959-65F0-439A-A145-A53E6EF31C53}"/>
              </a:ext>
            </a:extLst>
          </p:cNvPr>
          <p:cNvCxnSpPr>
            <a:cxnSpLocks/>
          </p:cNvCxnSpPr>
          <p:nvPr/>
        </p:nvCxnSpPr>
        <p:spPr>
          <a:xfrm>
            <a:off x="353" y="706678"/>
            <a:ext cx="5077833" cy="0"/>
          </a:xfrm>
          <a:prstGeom prst="line">
            <a:avLst/>
          </a:prstGeom>
          <a:noFill/>
          <a:ln w="19050" cap="flat" cmpd="sng" algn="ctr">
            <a:solidFill>
              <a:srgbClr val="FFFFFF"/>
            </a:solidFill>
            <a:prstDash val="solid"/>
          </a:ln>
          <a:effectLst/>
        </p:spPr>
      </p:cxnSp>
      <p:sp>
        <p:nvSpPr>
          <p:cNvPr id="14" name="Text Placeholder 7">
            <a:extLst>
              <a:ext uri="{FF2B5EF4-FFF2-40B4-BE49-F238E27FC236}">
                <a16:creationId xmlns:a16="http://schemas.microsoft.com/office/drawing/2014/main" id="{3DB82F54-0D0B-4B56-88B4-B8493C871E4A}"/>
              </a:ext>
            </a:extLst>
          </p:cNvPr>
          <p:cNvSpPr txBox="1">
            <a:spLocks/>
          </p:cNvSpPr>
          <p:nvPr/>
        </p:nvSpPr>
        <p:spPr>
          <a:xfrm>
            <a:off x="1072076" y="1474123"/>
            <a:ext cx="3600001" cy="364953"/>
          </a:xfrm>
          <a:prstGeom prst="rect">
            <a:avLst/>
          </a:prstGeom>
        </p:spPr>
        <p:txBody>
          <a:bodyPr lIns="0" tIns="0" rIns="0" bIns="0" anchor="b"/>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ENGAGE AN UPMARKET AUDIENCE</a:t>
            </a:r>
          </a:p>
        </p:txBody>
      </p:sp>
      <p:sp>
        <p:nvSpPr>
          <p:cNvPr id="15" name="Text Placeholder 8">
            <a:extLst>
              <a:ext uri="{FF2B5EF4-FFF2-40B4-BE49-F238E27FC236}">
                <a16:creationId xmlns:a16="http://schemas.microsoft.com/office/drawing/2014/main" id="{86476454-6872-4CE5-9962-797FB47F1497}"/>
              </a:ext>
            </a:extLst>
          </p:cNvPr>
          <p:cNvSpPr txBox="1">
            <a:spLocks/>
          </p:cNvSpPr>
          <p:nvPr/>
        </p:nvSpPr>
        <p:spPr>
          <a:xfrm>
            <a:off x="4921474" y="1474122"/>
            <a:ext cx="3600001" cy="364953"/>
          </a:xfrm>
          <a:prstGeom prst="rect">
            <a:avLst/>
          </a:prstGeom>
        </p:spPr>
        <p:txBody>
          <a:bodyPr lIns="0" tIns="0" rIns="0" bIns="0" anchor="b"/>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ALIGN WITH HIGH QUALITY CONTENT</a:t>
            </a:r>
          </a:p>
        </p:txBody>
      </p:sp>
      <p:sp>
        <p:nvSpPr>
          <p:cNvPr id="16" name="Text Placeholder 9">
            <a:extLst>
              <a:ext uri="{FF2B5EF4-FFF2-40B4-BE49-F238E27FC236}">
                <a16:creationId xmlns:a16="http://schemas.microsoft.com/office/drawing/2014/main" id="{1CA99C69-8CD5-476C-8C2A-1C480125A7BF}"/>
              </a:ext>
            </a:extLst>
          </p:cNvPr>
          <p:cNvSpPr txBox="1">
            <a:spLocks/>
          </p:cNvSpPr>
          <p:nvPr/>
        </p:nvSpPr>
        <p:spPr>
          <a:xfrm>
            <a:off x="8768107" y="1474122"/>
            <a:ext cx="3600001" cy="364953"/>
          </a:xfrm>
          <a:prstGeom prst="rect">
            <a:avLst/>
          </a:prstGeom>
        </p:spPr>
        <p:txBody>
          <a:bodyPr lIns="0" tIns="0" rIns="0" bIns="0" anchor="b"/>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kumimoji="0" lang="en-GB" sz="1200" b="1" i="0" u="none" strike="noStrike" kern="1200" cap="none" spc="0" normalizeH="0" baseline="0" noProof="0" dirty="0">
                <a:ln>
                  <a:noFill/>
                </a:ln>
                <a:solidFill>
                  <a:srgbClr val="FFFFFF"/>
                </a:solidFill>
                <a:effectLst/>
                <a:uLnTx/>
                <a:uFillTx/>
                <a:latin typeface="Arial"/>
                <a:ea typeface="+mn-ea"/>
                <a:cs typeface="+mn-cs"/>
              </a:rPr>
              <a:t>THE PERFECT PLATFORM</a:t>
            </a:r>
          </a:p>
        </p:txBody>
      </p:sp>
      <p:pic>
        <p:nvPicPr>
          <p:cNvPr id="6146" name="Picture 2" descr="First images from Saltburn film out- Cinema express">
            <a:extLst>
              <a:ext uri="{FF2B5EF4-FFF2-40B4-BE49-F238E27FC236}">
                <a16:creationId xmlns:a16="http://schemas.microsoft.com/office/drawing/2014/main" id="{AA703E6F-99B0-4C5A-08FB-7BE87C275581}"/>
              </a:ext>
            </a:extLst>
          </p:cNvPr>
          <p:cNvPicPr>
            <a:picLocks noGrp="1" noChangeAspect="1" noChangeArrowheads="1"/>
          </p:cNvPicPr>
          <p:nvPr>
            <p:ph type="pic" sz="quarter" idx="14"/>
          </p:nvPr>
        </p:nvPicPr>
        <p:blipFill>
          <a:blip r:embed="rId3">
            <a:extLst>
              <a:ext uri="{28A0092B-C50C-407E-A947-70E740481C1C}">
                <a14:useLocalDpi xmlns:a14="http://schemas.microsoft.com/office/drawing/2010/main" val="0"/>
              </a:ext>
            </a:extLst>
          </a:blip>
          <a:srcRect l="15602" r="15602"/>
          <a:stretch>
            <a:fillRect/>
          </a:stretch>
        </p:blipFill>
        <p:spPr bwMode="auto">
          <a:xfrm>
            <a:off x="1074738" y="2019300"/>
            <a:ext cx="3600450" cy="3140075"/>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Poor Things (2023) - IMDb">
            <a:extLst>
              <a:ext uri="{FF2B5EF4-FFF2-40B4-BE49-F238E27FC236}">
                <a16:creationId xmlns:a16="http://schemas.microsoft.com/office/drawing/2014/main" id="{BB1B678B-205B-7367-6069-B776DAFB5B6E}"/>
              </a:ext>
            </a:extLst>
          </p:cNvPr>
          <p:cNvPicPr>
            <a:picLocks noGrp="1" noChangeAspect="1" noChangeArrowheads="1"/>
          </p:cNvPicPr>
          <p:nvPr>
            <p:ph type="pic" sz="quarter" idx="15"/>
          </p:nvPr>
        </p:nvPicPr>
        <p:blipFill>
          <a:blip r:embed="rId4" cstate="print">
            <a:extLst>
              <a:ext uri="{28A0092B-C50C-407E-A947-70E740481C1C}">
                <a14:useLocalDpi xmlns:a14="http://schemas.microsoft.com/office/drawing/2010/main" val="0"/>
              </a:ext>
            </a:extLst>
          </a:blip>
          <a:srcRect l="4145" r="4145"/>
          <a:stretch>
            <a:fillRect/>
          </a:stretch>
        </p:blipFill>
        <p:spPr bwMode="auto">
          <a:xfrm>
            <a:off x="4921250" y="2019300"/>
            <a:ext cx="3600450" cy="3140075"/>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Bob Marley's Rise to Fame Shown in 'One Love's First Trailer: Watch –  Billboard">
            <a:extLst>
              <a:ext uri="{FF2B5EF4-FFF2-40B4-BE49-F238E27FC236}">
                <a16:creationId xmlns:a16="http://schemas.microsoft.com/office/drawing/2014/main" id="{512DEAF5-B423-2C6C-92D0-FB254F75A8E2}"/>
              </a:ext>
            </a:extLst>
          </p:cNvPr>
          <p:cNvPicPr>
            <a:picLocks noGrp="1" noChangeAspect="1" noChangeArrowheads="1"/>
          </p:cNvPicPr>
          <p:nvPr>
            <p:ph type="pic" sz="quarter" idx="16"/>
          </p:nvPr>
        </p:nvPicPr>
        <p:blipFill>
          <a:blip r:embed="rId5" cstate="print">
            <a:extLst>
              <a:ext uri="{28A0092B-C50C-407E-A947-70E740481C1C}">
                <a14:useLocalDpi xmlns:a14="http://schemas.microsoft.com/office/drawing/2010/main" val="0"/>
              </a:ext>
            </a:extLst>
          </a:blip>
          <a:srcRect l="12076" r="12076"/>
          <a:stretch>
            <a:fillRect/>
          </a:stretch>
        </p:blipFill>
        <p:spPr bwMode="auto">
          <a:xfrm>
            <a:off x="8767763" y="2019300"/>
            <a:ext cx="3600450" cy="3140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6941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0B41339-7C32-2993-449F-DF8409DEE73F}"/>
              </a:ext>
            </a:extLst>
          </p:cNvPr>
          <p:cNvSpPr>
            <a:spLocks noGrp="1"/>
          </p:cNvSpPr>
          <p:nvPr>
            <p:ph type="body" sz="quarter" idx="10"/>
          </p:nvPr>
        </p:nvSpPr>
        <p:spPr/>
        <p:txBody>
          <a:bodyPr/>
          <a:lstStyle/>
          <a:p>
            <a:r>
              <a:rPr lang="en-US" dirty="0"/>
              <a:t>AWARDS CONTENDERS</a:t>
            </a:r>
          </a:p>
        </p:txBody>
      </p:sp>
      <p:sp>
        <p:nvSpPr>
          <p:cNvPr id="11" name="Text Placeholder 10">
            <a:extLst>
              <a:ext uri="{FF2B5EF4-FFF2-40B4-BE49-F238E27FC236}">
                <a16:creationId xmlns:a16="http://schemas.microsoft.com/office/drawing/2014/main" id="{5F51A132-FDA2-226C-348F-09E976F15269}"/>
              </a:ext>
            </a:extLst>
          </p:cNvPr>
          <p:cNvSpPr>
            <a:spLocks noGrp="1"/>
          </p:cNvSpPr>
          <p:nvPr>
            <p:ph type="body" sz="quarter" idx="11"/>
          </p:nvPr>
        </p:nvSpPr>
        <p:spPr/>
        <p:txBody>
          <a:bodyPr/>
          <a:lstStyle/>
          <a:p>
            <a:endParaRPr lang="en-US"/>
          </a:p>
        </p:txBody>
      </p:sp>
      <p:sp>
        <p:nvSpPr>
          <p:cNvPr id="12" name="Text Placeholder 11">
            <a:extLst>
              <a:ext uri="{FF2B5EF4-FFF2-40B4-BE49-F238E27FC236}">
                <a16:creationId xmlns:a16="http://schemas.microsoft.com/office/drawing/2014/main" id="{8940B60D-4D99-C8EC-AC51-07894A0A33B5}"/>
              </a:ext>
            </a:extLst>
          </p:cNvPr>
          <p:cNvSpPr>
            <a:spLocks noGrp="1"/>
          </p:cNvSpPr>
          <p:nvPr>
            <p:ph type="body" sz="quarter" idx="12"/>
          </p:nvPr>
        </p:nvSpPr>
        <p:spPr/>
        <p:txBody>
          <a:bodyPr/>
          <a:lstStyle/>
          <a:p>
            <a:endParaRPr lang="en-US"/>
          </a:p>
        </p:txBody>
      </p:sp>
      <p:cxnSp>
        <p:nvCxnSpPr>
          <p:cNvPr id="13" name="Straight Connector 12">
            <a:extLst>
              <a:ext uri="{FF2B5EF4-FFF2-40B4-BE49-F238E27FC236}">
                <a16:creationId xmlns:a16="http://schemas.microsoft.com/office/drawing/2014/main" id="{9C75AF3B-291F-F1EC-0A30-80CC602E9FF0}"/>
              </a:ext>
            </a:extLst>
          </p:cNvPr>
          <p:cNvCxnSpPr>
            <a:cxnSpLocks/>
          </p:cNvCxnSpPr>
          <p:nvPr/>
        </p:nvCxnSpPr>
        <p:spPr>
          <a:xfrm>
            <a:off x="848063" y="4159842"/>
            <a:ext cx="1174682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3104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D5544EE-3DA1-7451-983C-296F0293C111}"/>
              </a:ext>
            </a:extLst>
          </p:cNvPr>
          <p:cNvSpPr>
            <a:spLocks noGrp="1"/>
          </p:cNvSpPr>
          <p:nvPr>
            <p:ph type="title"/>
          </p:nvPr>
        </p:nvSpPr>
        <p:spPr/>
        <p:txBody>
          <a:bodyPr/>
          <a:lstStyle/>
          <a:p>
            <a:r>
              <a:rPr lang="en-US" dirty="0"/>
              <a:t>A LOOK AHEAD TO AWARDS SEASON</a:t>
            </a:r>
          </a:p>
        </p:txBody>
      </p:sp>
      <p:sp>
        <p:nvSpPr>
          <p:cNvPr id="8" name="Text Placeholder 7">
            <a:extLst>
              <a:ext uri="{FF2B5EF4-FFF2-40B4-BE49-F238E27FC236}">
                <a16:creationId xmlns:a16="http://schemas.microsoft.com/office/drawing/2014/main" id="{E4ECA925-DECA-CD5E-79EE-012DDFAAD981}"/>
              </a:ext>
            </a:extLst>
          </p:cNvPr>
          <p:cNvSpPr>
            <a:spLocks noGrp="1"/>
          </p:cNvSpPr>
          <p:nvPr>
            <p:ph type="body" sz="quarter" idx="12"/>
          </p:nvPr>
        </p:nvSpPr>
        <p:spPr/>
        <p:txBody>
          <a:bodyPr/>
          <a:lstStyle/>
          <a:p>
            <a:r>
              <a:rPr lang="en-US" dirty="0"/>
              <a:t>Summary</a:t>
            </a:r>
          </a:p>
        </p:txBody>
      </p:sp>
      <p:sp>
        <p:nvSpPr>
          <p:cNvPr id="5" name="Text Placeholder 4">
            <a:extLst>
              <a:ext uri="{FF2B5EF4-FFF2-40B4-BE49-F238E27FC236}">
                <a16:creationId xmlns:a16="http://schemas.microsoft.com/office/drawing/2014/main" id="{9A7D4575-8C79-ED53-DF90-D884A80A1695}"/>
              </a:ext>
            </a:extLst>
          </p:cNvPr>
          <p:cNvSpPr>
            <a:spLocks noGrp="1"/>
          </p:cNvSpPr>
          <p:nvPr>
            <p:ph type="body" sz="quarter" idx="13"/>
          </p:nvPr>
        </p:nvSpPr>
        <p:spPr/>
        <p:txBody>
          <a:bodyPr/>
          <a:lstStyle/>
          <a:p>
            <a:pPr algn="l"/>
            <a:r>
              <a:rPr lang="en-GB" b="0" i="0" u="none" strike="noStrike" dirty="0">
                <a:effectLst/>
                <a:latin typeface="Arial" panose="020B0604020202020204" pitchFamily="34" charset="0"/>
                <a:cs typeface="Arial" panose="020B0604020202020204" pitchFamily="34" charset="0"/>
              </a:rPr>
              <a:t>Some of the world’s greatest filmmakers, alongside some of the most exciting newer filmmakers in the world, are set to release films between now and the major awards ceremonies in Q1 2024. The last few years have shown us that you don’t have to release a film in the traditional January and February awards corridor to have success at the Oscars and BAFTAs which means that awards season now legitimately starts in October, if not before. The first of the big hitters is Martin Scorsese’s </a:t>
            </a:r>
            <a:r>
              <a:rPr lang="en-GB" b="0" i="1" u="none" strike="noStrike" dirty="0">
                <a:effectLst/>
                <a:latin typeface="Arial" panose="020B0604020202020204" pitchFamily="34" charset="0"/>
                <a:cs typeface="Arial" panose="020B0604020202020204" pitchFamily="34" charset="0"/>
              </a:rPr>
              <a:t>Killers Of The Flower Moon</a:t>
            </a:r>
            <a:r>
              <a:rPr lang="en-GB" b="0" i="0" u="none" strike="noStrike" dirty="0">
                <a:effectLst/>
                <a:latin typeface="Arial" panose="020B0604020202020204" pitchFamily="34" charset="0"/>
                <a:cs typeface="Arial" panose="020B0604020202020204" pitchFamily="34" charset="0"/>
              </a:rPr>
              <a:t> which opens on 20 October. An adaptation of David </a:t>
            </a:r>
            <a:r>
              <a:rPr lang="en-GB" b="0" i="0" u="none" strike="noStrike" dirty="0" err="1">
                <a:effectLst/>
                <a:latin typeface="Arial" panose="020B0604020202020204" pitchFamily="34" charset="0"/>
                <a:cs typeface="Arial" panose="020B0604020202020204" pitchFamily="34" charset="0"/>
              </a:rPr>
              <a:t>Grann’s</a:t>
            </a:r>
            <a:r>
              <a:rPr lang="en-GB" b="0" i="0" u="none" strike="noStrike" dirty="0">
                <a:effectLst/>
                <a:latin typeface="Arial" panose="020B0604020202020204" pitchFamily="34" charset="0"/>
                <a:cs typeface="Arial" panose="020B0604020202020204" pitchFamily="34" charset="0"/>
              </a:rPr>
              <a:t> book it tells the story of the members of the Osage tribe in the United States who were murdered under mysterious circumstances in the 1920s, sparking a major F.B.I. investigation involving J. Edgar Hoover. It has already premiered at the Cannes Film Festival and is one of the best reviewed films of the great filmmaker’s career. Just a couple of weeks later </a:t>
            </a:r>
            <a:r>
              <a:rPr lang="en-GB" b="0" i="1" u="none" strike="noStrike" dirty="0">
                <a:effectLst/>
                <a:latin typeface="Arial" panose="020B0604020202020204" pitchFamily="34" charset="0"/>
                <a:cs typeface="Arial" panose="020B0604020202020204" pitchFamily="34" charset="0"/>
              </a:rPr>
              <a:t>Dune: Part II</a:t>
            </a:r>
            <a:r>
              <a:rPr lang="en-GB" b="0" i="0" u="none" strike="noStrike" dirty="0">
                <a:effectLst/>
                <a:latin typeface="Arial" panose="020B0604020202020204" pitchFamily="34" charset="0"/>
                <a:cs typeface="Arial" panose="020B0604020202020204" pitchFamily="34" charset="0"/>
              </a:rPr>
              <a:t> hits cinemas and is set to be one of the must-see big screen experiences of 2023. Denis Villeneuve’s </a:t>
            </a:r>
            <a:r>
              <a:rPr lang="en-GB" b="0" i="1" u="none" strike="noStrike" dirty="0">
                <a:effectLst/>
                <a:latin typeface="Arial" panose="020B0604020202020204" pitchFamily="34" charset="0"/>
                <a:cs typeface="Arial" panose="020B0604020202020204" pitchFamily="34" charset="0"/>
              </a:rPr>
              <a:t>Dune</a:t>
            </a:r>
            <a:r>
              <a:rPr lang="en-GB" b="0" i="0" u="none" strike="noStrike" dirty="0">
                <a:effectLst/>
                <a:latin typeface="Arial" panose="020B0604020202020204" pitchFamily="34" charset="0"/>
                <a:cs typeface="Arial" panose="020B0604020202020204" pitchFamily="34" charset="0"/>
              </a:rPr>
              <a:t> was nominated for 10 Oscars in 2022, winning six and this sequel has a good chance of winning more than just technical awards if it’s as good as the first film. </a:t>
            </a:r>
          </a:p>
          <a:p>
            <a:pPr algn="l"/>
            <a:r>
              <a:rPr lang="en-GB" b="0" i="0" u="none" strike="noStrike" dirty="0">
                <a:effectLst/>
                <a:latin typeface="Arial" panose="020B0604020202020204" pitchFamily="34" charset="0"/>
                <a:cs typeface="Arial" panose="020B0604020202020204" pitchFamily="34" charset="0"/>
              </a:rPr>
              <a:t> </a:t>
            </a:r>
          </a:p>
          <a:p>
            <a:pPr algn="l"/>
            <a:r>
              <a:rPr lang="en-GB" b="0" i="0" u="none" strike="noStrike" dirty="0">
                <a:effectLst/>
                <a:latin typeface="Arial" panose="020B0604020202020204" pitchFamily="34" charset="0"/>
                <a:cs typeface="Arial" panose="020B0604020202020204" pitchFamily="34" charset="0"/>
              </a:rPr>
              <a:t>Just a week after </a:t>
            </a:r>
            <a:r>
              <a:rPr lang="en-GB" b="0" i="1" u="none" strike="noStrike" dirty="0">
                <a:effectLst/>
                <a:latin typeface="Arial" panose="020B0604020202020204" pitchFamily="34" charset="0"/>
                <a:cs typeface="Arial" panose="020B0604020202020204" pitchFamily="34" charset="0"/>
              </a:rPr>
              <a:t>Dune: Part II</a:t>
            </a:r>
            <a:r>
              <a:rPr lang="en-GB" b="0" i="0" u="none" strike="noStrike" dirty="0">
                <a:effectLst/>
                <a:latin typeface="Arial" panose="020B0604020202020204" pitchFamily="34" charset="0"/>
                <a:cs typeface="Arial" panose="020B0604020202020204" pitchFamily="34" charset="0"/>
              </a:rPr>
              <a:t> on 10 November is a film that is already a major award winner having picked up the Palme d’Or at Cannes in May. Justine </a:t>
            </a:r>
            <a:r>
              <a:rPr lang="en-GB" b="0" i="0" u="none" strike="noStrike" dirty="0" err="1">
                <a:effectLst/>
                <a:latin typeface="Arial" panose="020B0604020202020204" pitchFamily="34" charset="0"/>
                <a:cs typeface="Arial" panose="020B0604020202020204" pitchFamily="34" charset="0"/>
              </a:rPr>
              <a:t>Triet’s</a:t>
            </a:r>
            <a:r>
              <a:rPr lang="en-GB" b="0" i="0" u="none" strike="noStrike" dirty="0">
                <a:effectLst/>
                <a:latin typeface="Arial" panose="020B0604020202020204" pitchFamily="34" charset="0"/>
                <a:cs typeface="Arial" panose="020B0604020202020204" pitchFamily="34" charset="0"/>
              </a:rPr>
              <a:t> </a:t>
            </a:r>
            <a:r>
              <a:rPr lang="en-GB" b="0" i="1" u="none" strike="noStrike" dirty="0">
                <a:effectLst/>
                <a:latin typeface="Arial" panose="020B0604020202020204" pitchFamily="34" charset="0"/>
                <a:cs typeface="Arial" panose="020B0604020202020204" pitchFamily="34" charset="0"/>
              </a:rPr>
              <a:t>Anatomy Of A Fall</a:t>
            </a:r>
            <a:r>
              <a:rPr lang="en-GB" b="0" i="0" u="none" strike="noStrike" dirty="0">
                <a:effectLst/>
                <a:latin typeface="Arial" panose="020B0604020202020204" pitchFamily="34" charset="0"/>
                <a:cs typeface="Arial" panose="020B0604020202020204" pitchFamily="34" charset="0"/>
              </a:rPr>
              <a:t> is a thriller about a woman who is suspected of her husband's murder, while their blind son faces a moral dilemma as the sole witness. Having already picked up the biggest prize on festival circuit this has a good chance of making a splash at the Oscars and BAFTAs too. November is packed full of great films and Emerald Fennell’s </a:t>
            </a:r>
            <a:r>
              <a:rPr lang="en-GB" b="0" i="1" u="none" strike="noStrike" dirty="0">
                <a:effectLst/>
                <a:latin typeface="Arial" panose="020B0604020202020204" pitchFamily="34" charset="0"/>
                <a:cs typeface="Arial" panose="020B0604020202020204" pitchFamily="34" charset="0"/>
              </a:rPr>
              <a:t>Saltburn</a:t>
            </a:r>
            <a:r>
              <a:rPr lang="en-GB" b="0" i="0" u="none" strike="noStrike" dirty="0">
                <a:effectLst/>
                <a:latin typeface="Arial" panose="020B0604020202020204" pitchFamily="34" charset="0"/>
                <a:cs typeface="Arial" panose="020B0604020202020204" pitchFamily="34" charset="0"/>
              </a:rPr>
              <a:t> and Ridley Scott’s </a:t>
            </a:r>
            <a:r>
              <a:rPr lang="en-GB" b="0" i="1" u="none" strike="noStrike" dirty="0">
                <a:effectLst/>
                <a:latin typeface="Arial" panose="020B0604020202020204" pitchFamily="34" charset="0"/>
                <a:cs typeface="Arial" panose="020B0604020202020204" pitchFamily="34" charset="0"/>
              </a:rPr>
              <a:t>Napoleon</a:t>
            </a:r>
            <a:r>
              <a:rPr lang="en-GB" b="0" i="0" u="none" strike="noStrike" dirty="0">
                <a:effectLst/>
                <a:latin typeface="Arial" panose="020B0604020202020204" pitchFamily="34" charset="0"/>
                <a:cs typeface="Arial" panose="020B0604020202020204" pitchFamily="34" charset="0"/>
              </a:rPr>
              <a:t> are released within a day of each other on 21 and 22 November. Saltburn is Fennell’s follow-up to the Oscar-winning </a:t>
            </a:r>
            <a:r>
              <a:rPr lang="en-GB" b="0" i="1" u="none" strike="noStrike" dirty="0">
                <a:effectLst/>
                <a:latin typeface="Arial" panose="020B0604020202020204" pitchFamily="34" charset="0"/>
                <a:cs typeface="Arial" panose="020B0604020202020204" pitchFamily="34" charset="0"/>
              </a:rPr>
              <a:t>Promising Young Woman</a:t>
            </a:r>
            <a:r>
              <a:rPr lang="en-GB" b="0" i="0" u="none" strike="noStrike" dirty="0">
                <a:effectLst/>
                <a:latin typeface="Arial" panose="020B0604020202020204" pitchFamily="34" charset="0"/>
                <a:cs typeface="Arial" panose="020B0604020202020204" pitchFamily="34" charset="0"/>
              </a:rPr>
              <a:t> and follows student Oliver Quick (Barry Keoghan) who is struggling to find his place at Oxford University and finds himself drawn into the world of the charming and aristocratic Felix Catton (</a:t>
            </a:r>
            <a:r>
              <a:rPr lang="en-GB" b="0" i="0" u="none" strike="noStrike" dirty="0" err="1">
                <a:effectLst/>
                <a:latin typeface="Arial" panose="020B0604020202020204" pitchFamily="34" charset="0"/>
                <a:cs typeface="Arial" panose="020B0604020202020204" pitchFamily="34" charset="0"/>
              </a:rPr>
              <a:t>Elordi</a:t>
            </a:r>
            <a:r>
              <a:rPr lang="en-GB" b="0" i="0" u="none" strike="noStrike" dirty="0">
                <a:effectLst/>
                <a:latin typeface="Arial" panose="020B0604020202020204" pitchFamily="34" charset="0"/>
                <a:cs typeface="Arial" panose="020B0604020202020204" pitchFamily="34" charset="0"/>
              </a:rPr>
              <a:t>), who invites him to Saltburn, his eccentric family’s sprawling estate, for an unforgettable summer.</a:t>
            </a:r>
            <a:r>
              <a:rPr lang="en-GB" b="0" i="1" u="none" strike="noStrike" dirty="0">
                <a:effectLst/>
                <a:latin typeface="Arial" panose="020B0604020202020204" pitchFamily="34" charset="0"/>
                <a:cs typeface="Arial" panose="020B0604020202020204" pitchFamily="34" charset="0"/>
              </a:rPr>
              <a:t> Napoleon</a:t>
            </a:r>
            <a:r>
              <a:rPr lang="en-GB" b="0" i="0" u="none" strike="noStrike" dirty="0">
                <a:effectLst/>
                <a:latin typeface="Arial" panose="020B0604020202020204" pitchFamily="34" charset="0"/>
                <a:cs typeface="Arial" panose="020B0604020202020204" pitchFamily="34" charset="0"/>
              </a:rPr>
              <a:t> sees Joaquin Phoenix star in an epic biopic of the French military commander and political leader. </a:t>
            </a:r>
          </a:p>
          <a:p>
            <a:pPr algn="l"/>
            <a:r>
              <a:rPr lang="en-GB" b="0" i="0" u="none" strike="noStrike" dirty="0">
                <a:effectLst/>
                <a:latin typeface="Arial" panose="020B0604020202020204" pitchFamily="34" charset="0"/>
                <a:cs typeface="Arial" panose="020B0604020202020204" pitchFamily="34" charset="0"/>
              </a:rPr>
              <a:t> </a:t>
            </a:r>
          </a:p>
          <a:p>
            <a:endParaRPr lang="en-US" sz="1000" dirty="0">
              <a:latin typeface="Arial" panose="020B0604020202020204" pitchFamily="34" charset="0"/>
              <a:cs typeface="Arial" panose="020B0604020202020204" pitchFamily="34" charset="0"/>
            </a:endParaRPr>
          </a:p>
        </p:txBody>
      </p:sp>
      <p:cxnSp>
        <p:nvCxnSpPr>
          <p:cNvPr id="9" name="Straight Connector 8">
            <a:extLst>
              <a:ext uri="{FF2B5EF4-FFF2-40B4-BE49-F238E27FC236}">
                <a16:creationId xmlns:a16="http://schemas.microsoft.com/office/drawing/2014/main" id="{A56EAABD-2B88-2620-71C3-F6009D85609C}"/>
              </a:ext>
            </a:extLst>
          </p:cNvPr>
          <p:cNvCxnSpPr>
            <a:cxnSpLocks/>
          </p:cNvCxnSpPr>
          <p:nvPr/>
        </p:nvCxnSpPr>
        <p:spPr>
          <a:xfrm>
            <a:off x="353" y="706678"/>
            <a:ext cx="5175804" cy="0"/>
          </a:xfrm>
          <a:prstGeom prst="line">
            <a:avLst/>
          </a:prstGeom>
          <a:noFill/>
          <a:ln w="19050" cap="flat" cmpd="sng" algn="ctr">
            <a:solidFill>
              <a:schemeClr val="bg1"/>
            </a:solidFill>
            <a:prstDash val="solid"/>
          </a:ln>
          <a:effectLst/>
        </p:spPr>
      </p:cxnSp>
      <p:sp>
        <p:nvSpPr>
          <p:cNvPr id="11" name="Text Placeholder 7">
            <a:extLst>
              <a:ext uri="{FF2B5EF4-FFF2-40B4-BE49-F238E27FC236}">
                <a16:creationId xmlns:a16="http://schemas.microsoft.com/office/drawing/2014/main" id="{66180E0A-27DD-42BD-70AD-F1ECA0818596}"/>
              </a:ext>
            </a:extLst>
          </p:cNvPr>
          <p:cNvSpPr txBox="1">
            <a:spLocks/>
          </p:cNvSpPr>
          <p:nvPr/>
        </p:nvSpPr>
        <p:spPr>
          <a:xfrm>
            <a:off x="7077459" y="7338533"/>
            <a:ext cx="6009782" cy="222730"/>
          </a:xfrm>
          <a:prstGeom prst="rect">
            <a:avLst/>
          </a:prstGeom>
        </p:spPr>
        <p:txBody>
          <a:bodyPr lIns="0" tIns="0" rIns="0" bIns="0"/>
          <a:lstStyle>
            <a:lvl1pPr marL="0" indent="0" algn="l" defTabSz="961844" rtl="0" eaLnBrk="1" latinLnBrk="0" hangingPunct="1">
              <a:lnSpc>
                <a:spcPct val="100000"/>
              </a:lnSpc>
              <a:spcBef>
                <a:spcPts val="0"/>
              </a:spcBef>
              <a:buClr>
                <a:srgbClr val="FFFFFF"/>
              </a:buClr>
              <a:buSzPct val="100000"/>
              <a:buFont typeface="Arial"/>
              <a:buNone/>
              <a:defRPr sz="1200" b="1"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baseline="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US" dirty="0">
                <a:solidFill>
                  <a:srgbClr val="FFFFFF"/>
                </a:solidFill>
              </a:rPr>
              <a:t>Imagery from ‘Killers of the Flower Moon’</a:t>
            </a:r>
          </a:p>
        </p:txBody>
      </p:sp>
      <p:pic>
        <p:nvPicPr>
          <p:cNvPr id="3074" name="Picture 2" descr="Killers of the Flower Moon review – Scorsese's remarkable epic about the  bloody birth of America | Cannes 2023 | The Guardian">
            <a:extLst>
              <a:ext uri="{FF2B5EF4-FFF2-40B4-BE49-F238E27FC236}">
                <a16:creationId xmlns:a16="http://schemas.microsoft.com/office/drawing/2014/main" id="{A59ABBAD-E95B-5764-6B9E-580195077C52}"/>
              </a:ext>
            </a:extLst>
          </p:cNvPr>
          <p:cNvPicPr>
            <a:picLocks noGrp="1" noChangeAspect="1" noChangeArrowheads="1"/>
          </p:cNvPicPr>
          <p:nvPr>
            <p:ph type="pic" sz="quarter" idx="10"/>
          </p:nvPr>
        </p:nvPicPr>
        <p:blipFill>
          <a:blip r:embed="rId2">
            <a:extLst>
              <a:ext uri="{28A0092B-C50C-407E-A947-70E740481C1C}">
                <a14:useLocalDpi xmlns:a14="http://schemas.microsoft.com/office/drawing/2010/main" val="0"/>
              </a:ext>
            </a:extLst>
          </a:blip>
          <a:srcRect l="5553" r="5553"/>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5770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4AE84AF-ABDB-60B8-E0EE-C990E763C5FA}"/>
              </a:ext>
            </a:extLst>
          </p:cNvPr>
          <p:cNvSpPr>
            <a:spLocks noGrp="1"/>
          </p:cNvSpPr>
          <p:nvPr>
            <p:ph type="title"/>
          </p:nvPr>
        </p:nvSpPr>
        <p:spPr/>
        <p:txBody>
          <a:bodyPr/>
          <a:lstStyle/>
          <a:p>
            <a:r>
              <a:rPr lang="en-US" dirty="0"/>
              <a:t>A LOOK AHEAD TO AWARDS SEASON</a:t>
            </a:r>
          </a:p>
        </p:txBody>
      </p:sp>
      <p:sp>
        <p:nvSpPr>
          <p:cNvPr id="8" name="Text Placeholder 7">
            <a:extLst>
              <a:ext uri="{FF2B5EF4-FFF2-40B4-BE49-F238E27FC236}">
                <a16:creationId xmlns:a16="http://schemas.microsoft.com/office/drawing/2014/main" id="{2616CBC8-B2FD-D9AB-CDAD-687DE717E705}"/>
              </a:ext>
            </a:extLst>
          </p:cNvPr>
          <p:cNvSpPr>
            <a:spLocks noGrp="1"/>
          </p:cNvSpPr>
          <p:nvPr>
            <p:ph type="body" sz="quarter" idx="12"/>
          </p:nvPr>
        </p:nvSpPr>
        <p:spPr/>
        <p:txBody>
          <a:bodyPr/>
          <a:lstStyle/>
          <a:p>
            <a:r>
              <a:rPr lang="en-US" dirty="0"/>
              <a:t>Continued…</a:t>
            </a:r>
          </a:p>
        </p:txBody>
      </p:sp>
      <p:sp>
        <p:nvSpPr>
          <p:cNvPr id="9" name="Text Placeholder 8">
            <a:extLst>
              <a:ext uri="{FF2B5EF4-FFF2-40B4-BE49-F238E27FC236}">
                <a16:creationId xmlns:a16="http://schemas.microsoft.com/office/drawing/2014/main" id="{1D55128B-8701-97C2-F005-DD9B20835812}"/>
              </a:ext>
            </a:extLst>
          </p:cNvPr>
          <p:cNvSpPr>
            <a:spLocks noGrp="1"/>
          </p:cNvSpPr>
          <p:nvPr>
            <p:ph type="body" sz="quarter" idx="13"/>
          </p:nvPr>
        </p:nvSpPr>
        <p:spPr/>
        <p:txBody>
          <a:bodyPr/>
          <a:lstStyle/>
          <a:p>
            <a:pPr algn="l"/>
            <a:r>
              <a:rPr lang="en-GB" b="0" i="0" u="none" strike="noStrike" dirty="0">
                <a:effectLst/>
                <a:latin typeface="Arial" panose="020B0604020202020204" pitchFamily="34" charset="0"/>
                <a:cs typeface="Arial" panose="020B0604020202020204" pitchFamily="34" charset="0"/>
              </a:rPr>
              <a:t>December also has a couple of big hitters as Tom Hardy, Jodie Comer and Austin Butler star in Jeff Nichols’ </a:t>
            </a:r>
            <a:r>
              <a:rPr lang="en-GB" b="0" i="1" u="none" strike="noStrike" dirty="0">
                <a:effectLst/>
                <a:latin typeface="Arial" panose="020B0604020202020204" pitchFamily="34" charset="0"/>
                <a:cs typeface="Arial" panose="020B0604020202020204" pitchFamily="34" charset="0"/>
              </a:rPr>
              <a:t>The </a:t>
            </a:r>
            <a:r>
              <a:rPr lang="en-GB" b="0" i="1" u="none" strike="noStrike" dirty="0" err="1">
                <a:effectLst/>
                <a:latin typeface="Arial" panose="020B0604020202020204" pitchFamily="34" charset="0"/>
                <a:cs typeface="Arial" panose="020B0604020202020204" pitchFamily="34" charset="0"/>
              </a:rPr>
              <a:t>Bikeriders</a:t>
            </a:r>
            <a:r>
              <a:rPr lang="en-GB" b="0" i="0" u="none" strike="noStrike" dirty="0">
                <a:effectLst/>
                <a:latin typeface="Arial" panose="020B0604020202020204" pitchFamily="34" charset="0"/>
                <a:cs typeface="Arial" panose="020B0604020202020204" pitchFamily="34" charset="0"/>
              </a:rPr>
              <a:t> which follows the rise of a Midwestern motorcycle club through the lives of its members. Then on Boxing Day a legendary filmmaker returns for his first film in eight years. Michael Mann’s </a:t>
            </a:r>
            <a:r>
              <a:rPr lang="en-GB" b="0" i="1" u="none" strike="noStrike" dirty="0">
                <a:effectLst/>
                <a:latin typeface="Arial" panose="020B0604020202020204" pitchFamily="34" charset="0"/>
                <a:cs typeface="Arial" panose="020B0604020202020204" pitchFamily="34" charset="0"/>
              </a:rPr>
              <a:t>Ferrari</a:t>
            </a:r>
            <a:r>
              <a:rPr lang="en-GB" b="0" i="0" u="none" strike="noStrike" dirty="0">
                <a:effectLst/>
                <a:latin typeface="Arial" panose="020B0604020202020204" pitchFamily="34" charset="0"/>
                <a:cs typeface="Arial" panose="020B0604020202020204" pitchFamily="34" charset="0"/>
              </a:rPr>
              <a:t> stars Adam Driver in a biopic of the Italian entrepreneur Enzo Ferrari, alongside Shailene Woodley, Penelope Cruz and Jack O’Connell. </a:t>
            </a:r>
          </a:p>
          <a:p>
            <a:pPr algn="l"/>
            <a:r>
              <a:rPr lang="en-GB" b="0" i="0" u="none" strike="noStrike" dirty="0">
                <a:effectLst/>
                <a:latin typeface="Arial" panose="020B0604020202020204" pitchFamily="34" charset="0"/>
                <a:cs typeface="Arial" panose="020B0604020202020204" pitchFamily="34" charset="0"/>
              </a:rPr>
              <a:t> </a:t>
            </a:r>
          </a:p>
          <a:p>
            <a:pPr algn="l"/>
            <a:r>
              <a:rPr lang="en-GB" b="0" i="0" u="none" strike="noStrike" dirty="0">
                <a:effectLst/>
                <a:latin typeface="Arial" panose="020B0604020202020204" pitchFamily="34" charset="0"/>
                <a:cs typeface="Arial" panose="020B0604020202020204" pitchFamily="34" charset="0"/>
              </a:rPr>
              <a:t>The tradition January awards season period is not short of some heavy hitters too, including Anthony Hopkins in </a:t>
            </a:r>
            <a:r>
              <a:rPr lang="en-GB" b="0" i="1" u="none" strike="noStrike" dirty="0">
                <a:effectLst/>
                <a:latin typeface="Arial" panose="020B0604020202020204" pitchFamily="34" charset="0"/>
                <a:cs typeface="Arial" panose="020B0604020202020204" pitchFamily="34" charset="0"/>
              </a:rPr>
              <a:t>One Life</a:t>
            </a:r>
            <a:r>
              <a:rPr lang="en-GB" b="0" i="0" u="none" strike="noStrike" dirty="0">
                <a:effectLst/>
                <a:latin typeface="Arial" panose="020B0604020202020204" pitchFamily="34" charset="0"/>
                <a:cs typeface="Arial" panose="020B0604020202020204" pitchFamily="34" charset="0"/>
              </a:rPr>
              <a:t> as British humanitarian Nicholas Winton, who helped save hundreds of children from the Nazis on the eve of World War II. Kingsley Ben </a:t>
            </a:r>
            <a:r>
              <a:rPr lang="en-GB" b="0" i="0" u="none" strike="noStrike" dirty="0" err="1">
                <a:effectLst/>
                <a:latin typeface="Arial" panose="020B0604020202020204" pitchFamily="34" charset="0"/>
                <a:cs typeface="Arial" panose="020B0604020202020204" pitchFamily="34" charset="0"/>
              </a:rPr>
              <a:t>Adir</a:t>
            </a:r>
            <a:r>
              <a:rPr lang="en-GB" b="0" i="0" u="none" strike="noStrike" dirty="0">
                <a:effectLst/>
                <a:latin typeface="Arial" panose="020B0604020202020204" pitchFamily="34" charset="0"/>
                <a:cs typeface="Arial" panose="020B0604020202020204" pitchFamily="34" charset="0"/>
              </a:rPr>
              <a:t> plays one of the most important musicians of the 20</a:t>
            </a:r>
            <a:r>
              <a:rPr lang="en-GB" b="0" i="0" u="none" strike="noStrike" baseline="30000" dirty="0">
                <a:effectLst/>
                <a:latin typeface="Arial" panose="020B0604020202020204" pitchFamily="34" charset="0"/>
                <a:cs typeface="Arial" panose="020B0604020202020204" pitchFamily="34" charset="0"/>
              </a:rPr>
              <a:t>th</a:t>
            </a:r>
            <a:r>
              <a:rPr lang="en-GB" b="0" i="0" u="none" strike="noStrike" dirty="0">
                <a:effectLst/>
                <a:latin typeface="Arial" panose="020B0604020202020204" pitchFamily="34" charset="0"/>
                <a:cs typeface="Arial" panose="020B0604020202020204" pitchFamily="34" charset="0"/>
              </a:rPr>
              <a:t> Century in </a:t>
            </a:r>
            <a:r>
              <a:rPr lang="en-GB" b="0" i="1" u="none" strike="noStrike" dirty="0">
                <a:effectLst/>
                <a:latin typeface="Arial" panose="020B0604020202020204" pitchFamily="34" charset="0"/>
                <a:cs typeface="Arial" panose="020B0604020202020204" pitchFamily="34" charset="0"/>
              </a:rPr>
              <a:t>Bob Marley: One Love</a:t>
            </a:r>
            <a:r>
              <a:rPr lang="en-GB" b="0" i="0" u="none" strike="noStrike" dirty="0">
                <a:effectLst/>
                <a:latin typeface="Arial" panose="020B0604020202020204" pitchFamily="34" charset="0"/>
                <a:cs typeface="Arial" panose="020B0604020202020204" pitchFamily="34" charset="0"/>
              </a:rPr>
              <a:t>, while Emma Stone re-unites with </a:t>
            </a:r>
            <a:r>
              <a:rPr lang="en-GB" b="0" i="1" u="none" strike="noStrike" dirty="0">
                <a:effectLst/>
                <a:latin typeface="Arial" panose="020B0604020202020204" pitchFamily="34" charset="0"/>
                <a:cs typeface="Arial" panose="020B0604020202020204" pitchFamily="34" charset="0"/>
              </a:rPr>
              <a:t>The Favourite </a:t>
            </a:r>
            <a:r>
              <a:rPr lang="en-GB" b="0" i="0" u="none" strike="noStrike" dirty="0">
                <a:effectLst/>
                <a:latin typeface="Arial" panose="020B0604020202020204" pitchFamily="34" charset="0"/>
                <a:cs typeface="Arial" panose="020B0604020202020204" pitchFamily="34" charset="0"/>
              </a:rPr>
              <a:t>director, Yorgos Lanthimos in </a:t>
            </a:r>
            <a:r>
              <a:rPr lang="en-GB" b="0" i="1" u="none" strike="noStrike" dirty="0">
                <a:effectLst/>
                <a:latin typeface="Arial" panose="020B0604020202020204" pitchFamily="34" charset="0"/>
                <a:cs typeface="Arial" panose="020B0604020202020204" pitchFamily="34" charset="0"/>
              </a:rPr>
              <a:t>Poor Things</a:t>
            </a:r>
            <a:r>
              <a:rPr lang="en-GB" b="0" i="0" u="none" strike="noStrike" dirty="0">
                <a:effectLst/>
                <a:latin typeface="Arial" panose="020B0604020202020204" pitchFamily="34" charset="0"/>
                <a:cs typeface="Arial" panose="020B0604020202020204" pitchFamily="34" charset="0"/>
              </a:rPr>
              <a:t>. British filmmaker </a:t>
            </a:r>
            <a:r>
              <a:rPr lang="en-GB" b="0" i="0" u="none" strike="noStrike" dirty="0" err="1">
                <a:effectLst/>
                <a:latin typeface="Arial" panose="020B0604020202020204" pitchFamily="34" charset="0"/>
                <a:cs typeface="Arial" panose="020B0604020202020204" pitchFamily="34" charset="0"/>
              </a:rPr>
              <a:t>Jeymes</a:t>
            </a:r>
            <a:r>
              <a:rPr lang="en-GB" b="0" i="0" u="none" strike="noStrike" dirty="0">
                <a:effectLst/>
                <a:latin typeface="Arial" panose="020B0604020202020204" pitchFamily="34" charset="0"/>
                <a:cs typeface="Arial" panose="020B0604020202020204" pitchFamily="34" charset="0"/>
              </a:rPr>
              <a:t> Samuel directs </a:t>
            </a:r>
            <a:r>
              <a:rPr lang="en-GB" b="0" i="0" u="none" strike="noStrike" dirty="0" err="1">
                <a:effectLst/>
                <a:latin typeface="Arial" panose="020B0604020202020204" pitchFamily="34" charset="0"/>
                <a:cs typeface="Arial" panose="020B0604020202020204" pitchFamily="34" charset="0"/>
              </a:rPr>
              <a:t>LaKeith</a:t>
            </a:r>
            <a:r>
              <a:rPr lang="en-GB" b="0" i="0" u="none" strike="noStrike" dirty="0">
                <a:effectLst/>
                <a:latin typeface="Arial" panose="020B0604020202020204" pitchFamily="34" charset="0"/>
                <a:cs typeface="Arial" panose="020B0604020202020204" pitchFamily="34" charset="0"/>
              </a:rPr>
              <a:t> Stanfield, Alfre Woodard, and Benedict Cumberbatch in </a:t>
            </a:r>
            <a:r>
              <a:rPr lang="en-GB" b="0" i="1" u="none" strike="noStrike" dirty="0">
                <a:effectLst/>
                <a:latin typeface="Arial" panose="020B0604020202020204" pitchFamily="34" charset="0"/>
                <a:cs typeface="Arial" panose="020B0604020202020204" pitchFamily="34" charset="0"/>
              </a:rPr>
              <a:t>The Book Of Clarence</a:t>
            </a:r>
            <a:r>
              <a:rPr lang="en-GB" b="0" i="0" u="none" strike="noStrike" dirty="0">
                <a:effectLst/>
                <a:latin typeface="Arial" panose="020B0604020202020204" pitchFamily="34" charset="0"/>
                <a:cs typeface="Arial" panose="020B0604020202020204" pitchFamily="34" charset="0"/>
              </a:rPr>
              <a:t>, the tale of a down on his luck Jerusalemite who embarks on a misguided attempt to capitalize on the rise of celebrity and influence the Messiah for his own personal gain. Finally, regular awards contender Alexander Payne reunites with Paul Giamatti for the first time since the Oscar-winning </a:t>
            </a:r>
            <a:r>
              <a:rPr lang="en-GB" b="0" i="1" u="none" strike="noStrike" dirty="0">
                <a:effectLst/>
                <a:latin typeface="Arial" panose="020B0604020202020204" pitchFamily="34" charset="0"/>
                <a:cs typeface="Arial" panose="020B0604020202020204" pitchFamily="34" charset="0"/>
              </a:rPr>
              <a:t>Sideways</a:t>
            </a:r>
            <a:r>
              <a:rPr lang="en-GB" b="0" i="0" u="none" strike="noStrike" dirty="0">
                <a:effectLst/>
                <a:latin typeface="Arial" panose="020B0604020202020204" pitchFamily="34" charset="0"/>
                <a:cs typeface="Arial" panose="020B0604020202020204" pitchFamily="34" charset="0"/>
              </a:rPr>
              <a:t> in </a:t>
            </a:r>
            <a:r>
              <a:rPr lang="en-GB" b="0" i="1" u="none" strike="noStrike" dirty="0">
                <a:effectLst/>
                <a:latin typeface="Arial" panose="020B0604020202020204" pitchFamily="34" charset="0"/>
                <a:cs typeface="Arial" panose="020B0604020202020204" pitchFamily="34" charset="0"/>
              </a:rPr>
              <a:t>The Holdovers</a:t>
            </a:r>
            <a:r>
              <a:rPr lang="en-GB" b="0" i="0" u="none" strike="noStrike" dirty="0">
                <a:effectLst/>
                <a:latin typeface="Arial" panose="020B0604020202020204" pitchFamily="34" charset="0"/>
                <a:cs typeface="Arial" panose="020B0604020202020204" pitchFamily="34" charset="0"/>
              </a:rPr>
              <a:t>, which sees Giamatti play a disliked teacher who is responsible for supervising the students who are unable to return to their homes for Christmas break and forms a bond with a particularly rebellious student.</a:t>
            </a:r>
          </a:p>
          <a:p>
            <a:pPr algn="l"/>
            <a:r>
              <a:rPr lang="en-GB" b="0" i="0" u="none" strike="noStrike" dirty="0">
                <a:effectLst/>
                <a:latin typeface="Arial" panose="020B0604020202020204" pitchFamily="34" charset="0"/>
                <a:cs typeface="Arial" panose="020B0604020202020204" pitchFamily="34" charset="0"/>
              </a:rPr>
              <a:t> </a:t>
            </a:r>
          </a:p>
          <a:p>
            <a:pPr algn="l"/>
            <a:r>
              <a:rPr lang="en-GB" b="0" i="0" u="none" strike="noStrike" dirty="0">
                <a:effectLst/>
                <a:latin typeface="Arial" panose="020B0604020202020204" pitchFamily="34" charset="0"/>
                <a:cs typeface="Arial" panose="020B0604020202020204" pitchFamily="34" charset="0"/>
              </a:rPr>
              <a:t>As you can tell, it’s quite a selection and more titles are expected to be added in the next few months, one of which may be the eventual Best Picture winner. That unpredictability is just one of the reasons awards season is one of the most exciting times of the year to be a cinema fan.</a:t>
            </a:r>
          </a:p>
          <a:p>
            <a:endParaRPr lang="en-US" dirty="0"/>
          </a:p>
        </p:txBody>
      </p:sp>
      <p:cxnSp>
        <p:nvCxnSpPr>
          <p:cNvPr id="10" name="Straight Connector 9">
            <a:extLst>
              <a:ext uri="{FF2B5EF4-FFF2-40B4-BE49-F238E27FC236}">
                <a16:creationId xmlns:a16="http://schemas.microsoft.com/office/drawing/2014/main" id="{C09057B1-3BFC-8A9E-4095-DD7024ED1536}"/>
              </a:ext>
            </a:extLst>
          </p:cNvPr>
          <p:cNvCxnSpPr>
            <a:cxnSpLocks/>
          </p:cNvCxnSpPr>
          <p:nvPr/>
        </p:nvCxnSpPr>
        <p:spPr>
          <a:xfrm>
            <a:off x="7171200" y="706678"/>
            <a:ext cx="6271750" cy="0"/>
          </a:xfrm>
          <a:prstGeom prst="line">
            <a:avLst/>
          </a:prstGeom>
          <a:noFill/>
          <a:ln w="19050" cap="flat" cmpd="sng" algn="ctr">
            <a:solidFill>
              <a:schemeClr val="bg1"/>
            </a:solidFill>
            <a:prstDash val="solid"/>
          </a:ln>
          <a:effectLst/>
        </p:spPr>
      </p:cxnSp>
      <p:pic>
        <p:nvPicPr>
          <p:cNvPr id="9220" name="Picture 4" descr="ICONIC AMERICAN IMAGES BY DANNY LYON | THE BIKERIDERS AND BEYOND | The  Selvedge Yard">
            <a:extLst>
              <a:ext uri="{FF2B5EF4-FFF2-40B4-BE49-F238E27FC236}">
                <a16:creationId xmlns:a16="http://schemas.microsoft.com/office/drawing/2014/main" id="{163DD082-1E6D-61DA-D0E8-27E7D721B788}"/>
              </a:ext>
            </a:extLst>
          </p:cNvPr>
          <p:cNvPicPr>
            <a:picLocks noGrp="1" noChangeAspect="1" noChangeArrowheads="1"/>
          </p:cNvPicPr>
          <p:nvPr>
            <p:ph type="pic" sz="quarter" idx="10"/>
          </p:nvPr>
        </p:nvPicPr>
        <p:blipFill rotWithShape="1">
          <a:blip r:embed="rId2">
            <a:extLst>
              <a:ext uri="{28A0092B-C50C-407E-A947-70E740481C1C}">
                <a14:useLocalDpi xmlns:a14="http://schemas.microsoft.com/office/drawing/2010/main" val="0"/>
              </a:ext>
            </a:extLst>
          </a:blip>
          <a:srcRect l="38644" r="2788"/>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7">
            <a:extLst>
              <a:ext uri="{FF2B5EF4-FFF2-40B4-BE49-F238E27FC236}">
                <a16:creationId xmlns:a16="http://schemas.microsoft.com/office/drawing/2014/main" id="{0A4F6390-BE82-B7DC-51C9-68E33B7EF24C}"/>
              </a:ext>
            </a:extLst>
          </p:cNvPr>
          <p:cNvSpPr txBox="1">
            <a:spLocks/>
          </p:cNvSpPr>
          <p:nvPr/>
        </p:nvSpPr>
        <p:spPr>
          <a:xfrm>
            <a:off x="355709" y="7338533"/>
            <a:ext cx="6009782" cy="222730"/>
          </a:xfrm>
          <a:prstGeom prst="rect">
            <a:avLst/>
          </a:prstGeom>
        </p:spPr>
        <p:txBody>
          <a:bodyPr lIns="0" tIns="0" rIns="0" bIns="0"/>
          <a:lstStyle>
            <a:lvl1pPr marL="0" indent="0" algn="l" defTabSz="961844" rtl="0" eaLnBrk="1" latinLnBrk="0" hangingPunct="1">
              <a:lnSpc>
                <a:spcPct val="100000"/>
              </a:lnSpc>
              <a:spcBef>
                <a:spcPts val="0"/>
              </a:spcBef>
              <a:buClr>
                <a:srgbClr val="FFFFFF"/>
              </a:buClr>
              <a:buSzPct val="100000"/>
              <a:buFont typeface="Arial"/>
              <a:buNone/>
              <a:defRPr sz="1200" b="1"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baseline="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US" dirty="0"/>
              <a:t>Imagery from ‘The </a:t>
            </a:r>
            <a:r>
              <a:rPr lang="en-US" dirty="0" err="1"/>
              <a:t>Bikeriders</a:t>
            </a:r>
            <a:r>
              <a:rPr lang="en-US" dirty="0"/>
              <a:t>’</a:t>
            </a:r>
          </a:p>
        </p:txBody>
      </p:sp>
    </p:spTree>
    <p:extLst>
      <p:ext uri="{BB962C8B-B14F-4D97-AF65-F5344CB8AC3E}">
        <p14:creationId xmlns:p14="http://schemas.microsoft.com/office/powerpoint/2010/main" val="421295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6A82B63-AD33-215D-9C1E-D0566B09832B}"/>
              </a:ext>
            </a:extLst>
          </p:cNvPr>
          <p:cNvSpPr>
            <a:spLocks noGrp="1"/>
          </p:cNvSpPr>
          <p:nvPr>
            <p:ph type="title"/>
          </p:nvPr>
        </p:nvSpPr>
        <p:spPr/>
        <p:txBody>
          <a:bodyPr/>
          <a:lstStyle/>
          <a:p>
            <a:pPr defTabSz="1008126">
              <a:defRPr/>
            </a:pPr>
            <a:r>
              <a:rPr lang="en-GB" sz="2800" dirty="0">
                <a:solidFill>
                  <a:prstClr val="white"/>
                </a:solidFill>
                <a:latin typeface="Impact" charset="0"/>
                <a:ea typeface="Impact" charset="0"/>
                <a:cs typeface="Impact" charset="0"/>
              </a:rPr>
              <a:t>REACHING AN UPMARKET CINEMA AUDIENCE</a:t>
            </a:r>
          </a:p>
        </p:txBody>
      </p:sp>
      <p:sp>
        <p:nvSpPr>
          <p:cNvPr id="11" name="Text Placeholder 10">
            <a:extLst>
              <a:ext uri="{FF2B5EF4-FFF2-40B4-BE49-F238E27FC236}">
                <a16:creationId xmlns:a16="http://schemas.microsoft.com/office/drawing/2014/main" id="{119371AA-18A6-6487-C010-68E1CC540D43}"/>
              </a:ext>
            </a:extLst>
          </p:cNvPr>
          <p:cNvSpPr>
            <a:spLocks noGrp="1"/>
          </p:cNvSpPr>
          <p:nvPr>
            <p:ph type="body" sz="quarter" idx="12"/>
          </p:nvPr>
        </p:nvSpPr>
        <p:spPr/>
        <p:txBody>
          <a:bodyPr/>
          <a:lstStyle/>
          <a:p>
            <a:r>
              <a:rPr lang="en-US" sz="1202" b="1" dirty="0">
                <a:solidFill>
                  <a:srgbClr val="FFFFFF"/>
                </a:solidFill>
                <a:latin typeface="Arial" charset="0"/>
                <a:ea typeface="Arial" charset="0"/>
                <a:cs typeface="Arial" charset="0"/>
              </a:rPr>
              <a:t>Awards Season delivers a higher share of affluent ABC1 cinemagoers vs. the average film profile, with a predicted average at 77% across these 13 titles</a:t>
            </a:r>
          </a:p>
          <a:p>
            <a:endParaRPr lang="en-US" dirty="0">
              <a:solidFill>
                <a:srgbClr val="FFFFFF"/>
              </a:solidFill>
            </a:endParaRPr>
          </a:p>
        </p:txBody>
      </p:sp>
      <p:pic>
        <p:nvPicPr>
          <p:cNvPr id="20" name="Picture 19">
            <a:extLst>
              <a:ext uri="{FF2B5EF4-FFF2-40B4-BE49-F238E27FC236}">
                <a16:creationId xmlns:a16="http://schemas.microsoft.com/office/drawing/2014/main" id="{B5F14156-BD06-849F-497C-14BE81B20E3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2224" y="6959163"/>
            <a:ext cx="1679509" cy="364060"/>
          </a:xfrm>
          <a:prstGeom prst="rect">
            <a:avLst/>
          </a:prstGeom>
        </p:spPr>
      </p:pic>
      <p:cxnSp>
        <p:nvCxnSpPr>
          <p:cNvPr id="21" name="Straight Connector 20">
            <a:extLst>
              <a:ext uri="{FF2B5EF4-FFF2-40B4-BE49-F238E27FC236}">
                <a16:creationId xmlns:a16="http://schemas.microsoft.com/office/drawing/2014/main" id="{5957BFBD-5E79-9D64-398B-7CD4A9ED7F54}"/>
              </a:ext>
            </a:extLst>
          </p:cNvPr>
          <p:cNvCxnSpPr>
            <a:cxnSpLocks/>
          </p:cNvCxnSpPr>
          <p:nvPr/>
        </p:nvCxnSpPr>
        <p:spPr>
          <a:xfrm>
            <a:off x="353" y="706678"/>
            <a:ext cx="6416776" cy="0"/>
          </a:xfrm>
          <a:prstGeom prst="line">
            <a:avLst/>
          </a:prstGeom>
          <a:noFill/>
          <a:ln w="19050" cap="flat" cmpd="sng" algn="ctr">
            <a:solidFill>
              <a:srgbClr val="FFFFFF"/>
            </a:solidFill>
            <a:prstDash val="solid"/>
          </a:ln>
          <a:effectLst/>
        </p:spPr>
      </p:cxnSp>
      <p:graphicFrame>
        <p:nvGraphicFramePr>
          <p:cNvPr id="12" name="Chart 11">
            <a:extLst>
              <a:ext uri="{FF2B5EF4-FFF2-40B4-BE49-F238E27FC236}">
                <a16:creationId xmlns:a16="http://schemas.microsoft.com/office/drawing/2014/main" id="{576F96D0-7A9C-C74A-38C5-32AEA5E5664A}"/>
              </a:ext>
            </a:extLst>
          </p:cNvPr>
          <p:cNvGraphicFramePr/>
          <p:nvPr>
            <p:extLst>
              <p:ext uri="{D42A27DB-BD31-4B8C-83A1-F6EECF244321}">
                <p14:modId xmlns:p14="http://schemas.microsoft.com/office/powerpoint/2010/main" val="1868388694"/>
              </p:ext>
            </p:extLst>
          </p:nvPr>
        </p:nvGraphicFramePr>
        <p:xfrm>
          <a:off x="776642" y="1900003"/>
          <a:ext cx="11886305" cy="4898074"/>
        </p:xfrm>
        <a:graphic>
          <a:graphicData uri="http://schemas.openxmlformats.org/drawingml/2006/chart">
            <c:chart xmlns:c="http://schemas.openxmlformats.org/drawingml/2006/chart" xmlns:r="http://schemas.openxmlformats.org/officeDocument/2006/relationships" r:id="rId3"/>
          </a:graphicData>
        </a:graphic>
      </p:graphicFrame>
      <p:cxnSp>
        <p:nvCxnSpPr>
          <p:cNvPr id="14" name="Straight Connector 13">
            <a:extLst>
              <a:ext uri="{FF2B5EF4-FFF2-40B4-BE49-F238E27FC236}">
                <a16:creationId xmlns:a16="http://schemas.microsoft.com/office/drawing/2014/main" id="{D1FE8E71-CBBA-2506-789E-C2A65D39B0CC}"/>
              </a:ext>
            </a:extLst>
          </p:cNvPr>
          <p:cNvCxnSpPr>
            <a:cxnSpLocks/>
          </p:cNvCxnSpPr>
          <p:nvPr/>
        </p:nvCxnSpPr>
        <p:spPr>
          <a:xfrm>
            <a:off x="1016827" y="3674500"/>
            <a:ext cx="11256430" cy="0"/>
          </a:xfrm>
          <a:prstGeom prst="line">
            <a:avLst/>
          </a:prstGeom>
          <a:ln w="28575">
            <a:solidFill>
              <a:srgbClr val="FFFFFF"/>
            </a:solidFill>
            <a:prstDash val="dash"/>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2383F15-9E1D-4408-B9C6-31726F5411B9}"/>
              </a:ext>
            </a:extLst>
          </p:cNvPr>
          <p:cNvSpPr txBox="1"/>
          <p:nvPr/>
        </p:nvSpPr>
        <p:spPr>
          <a:xfrm>
            <a:off x="12273257" y="3355412"/>
            <a:ext cx="1165979" cy="940963"/>
          </a:xfrm>
          <a:prstGeom prst="rect">
            <a:avLst/>
          </a:prstGeom>
          <a:noFill/>
          <a:ln>
            <a:noFill/>
          </a:ln>
        </p:spPr>
        <p:txBody>
          <a:bodyPr wrap="square" rtlCol="0">
            <a:spAutoFit/>
          </a:bodyPr>
          <a:lstStyle/>
          <a:p>
            <a:pPr defTabSz="1060433">
              <a:defRPr/>
            </a:pPr>
            <a:r>
              <a:rPr lang="en-GB" sz="1103" i="1" dirty="0">
                <a:solidFill>
                  <a:srgbClr val="FFFFFF"/>
                </a:solidFill>
                <a:latin typeface="Arial"/>
              </a:rPr>
              <a:t>Average %</a:t>
            </a:r>
          </a:p>
          <a:p>
            <a:pPr defTabSz="1060433">
              <a:defRPr/>
            </a:pPr>
            <a:r>
              <a:rPr lang="en-GB" sz="1103" i="1" dirty="0">
                <a:solidFill>
                  <a:srgbClr val="FFFFFF"/>
                </a:solidFill>
                <a:latin typeface="Arial"/>
              </a:rPr>
              <a:t>Cinema goers ABC1 Adult Profile: </a:t>
            </a:r>
          </a:p>
          <a:p>
            <a:pPr defTabSz="1060433">
              <a:defRPr/>
            </a:pPr>
            <a:r>
              <a:rPr lang="en-GB" sz="1103" i="1" dirty="0">
                <a:solidFill>
                  <a:srgbClr val="FFFFFF"/>
                </a:solidFill>
                <a:latin typeface="Arial"/>
              </a:rPr>
              <a:t>55%</a:t>
            </a:r>
          </a:p>
        </p:txBody>
      </p:sp>
      <p:sp>
        <p:nvSpPr>
          <p:cNvPr id="16" name="Rectangle 15">
            <a:extLst>
              <a:ext uri="{FF2B5EF4-FFF2-40B4-BE49-F238E27FC236}">
                <a16:creationId xmlns:a16="http://schemas.microsoft.com/office/drawing/2014/main" id="{DD190D49-F360-9352-62EE-F6A355C9F509}"/>
              </a:ext>
            </a:extLst>
          </p:cNvPr>
          <p:cNvSpPr/>
          <p:nvPr/>
        </p:nvSpPr>
        <p:spPr>
          <a:xfrm>
            <a:off x="2134158" y="7238150"/>
            <a:ext cx="11305078" cy="277320"/>
          </a:xfrm>
          <a:prstGeom prst="rect">
            <a:avLst/>
          </a:prstGeom>
        </p:spPr>
        <p:txBody>
          <a:bodyPr wrap="square">
            <a:spAutoFit/>
          </a:bodyPr>
          <a:lstStyle/>
          <a:p>
            <a:pPr algn="r" defTabSz="1008126">
              <a:defRPr/>
            </a:pPr>
            <a:r>
              <a:rPr lang="en-US" sz="1202" dirty="0">
                <a:solidFill>
                  <a:prstClr val="white"/>
                </a:solidFill>
                <a:latin typeface="Arial" charset="0"/>
                <a:ea typeface="Arial" charset="0"/>
                <a:cs typeface="Arial" charset="0"/>
              </a:rPr>
              <a:t>*Predicted Audience Performance</a:t>
            </a:r>
          </a:p>
        </p:txBody>
      </p:sp>
    </p:spTree>
    <p:extLst>
      <p:ext uri="{BB962C8B-B14F-4D97-AF65-F5344CB8AC3E}">
        <p14:creationId xmlns:p14="http://schemas.microsoft.com/office/powerpoint/2010/main" val="201701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9D7D1AFF-CE42-4369-9797-EDB81F19C175}"/>
              </a:ext>
            </a:extLst>
          </p:cNvPr>
          <p:cNvSpPr>
            <a:spLocks noGrp="1"/>
          </p:cNvSpPr>
          <p:nvPr>
            <p:ph type="body" sz="quarter" idx="19"/>
          </p:nvPr>
        </p:nvSpPr>
        <p:spPr/>
        <p:txBody>
          <a:bodyPr/>
          <a:lstStyle/>
          <a:p>
            <a:r>
              <a:rPr lang="en-US" dirty="0">
                <a:solidFill>
                  <a:srgbClr val="FFFFFF"/>
                </a:solidFill>
              </a:rPr>
              <a:t>Killers of The Flower Moon</a:t>
            </a:r>
          </a:p>
          <a:p>
            <a:r>
              <a:rPr lang="en-US" dirty="0">
                <a:solidFill>
                  <a:srgbClr val="FFFFFF"/>
                </a:solidFill>
              </a:rPr>
              <a:t>Film Pack</a:t>
            </a:r>
          </a:p>
        </p:txBody>
      </p:sp>
      <p:sp>
        <p:nvSpPr>
          <p:cNvPr id="17" name="Text Placeholder 16">
            <a:extLst>
              <a:ext uri="{FF2B5EF4-FFF2-40B4-BE49-F238E27FC236}">
                <a16:creationId xmlns:a16="http://schemas.microsoft.com/office/drawing/2014/main" id="{7E280120-0872-A908-E84C-280AABB7485E}"/>
              </a:ext>
            </a:extLst>
          </p:cNvPr>
          <p:cNvSpPr>
            <a:spLocks noGrp="1"/>
          </p:cNvSpPr>
          <p:nvPr>
            <p:ph type="body" sz="quarter" idx="25"/>
          </p:nvPr>
        </p:nvSpPr>
        <p:spPr/>
        <p:txBody>
          <a:bodyPr/>
          <a:lstStyle/>
          <a:p>
            <a:r>
              <a:rPr lang="en-US" dirty="0">
                <a:solidFill>
                  <a:srgbClr val="FFFFFF"/>
                </a:solidFill>
              </a:rPr>
              <a:t>May December</a:t>
            </a:r>
          </a:p>
          <a:p>
            <a:r>
              <a:rPr lang="en-US" dirty="0">
                <a:solidFill>
                  <a:srgbClr val="FFFFFF"/>
                </a:solidFill>
              </a:rPr>
              <a:t>Gold / Silver Spot</a:t>
            </a:r>
          </a:p>
        </p:txBody>
      </p:sp>
      <p:sp>
        <p:nvSpPr>
          <p:cNvPr id="18" name="Text Placeholder 17">
            <a:extLst>
              <a:ext uri="{FF2B5EF4-FFF2-40B4-BE49-F238E27FC236}">
                <a16:creationId xmlns:a16="http://schemas.microsoft.com/office/drawing/2014/main" id="{87E60B97-E2D4-39DB-34A4-DDC27C439B3C}"/>
              </a:ext>
            </a:extLst>
          </p:cNvPr>
          <p:cNvSpPr>
            <a:spLocks noGrp="1"/>
          </p:cNvSpPr>
          <p:nvPr>
            <p:ph type="body" sz="quarter" idx="26"/>
          </p:nvPr>
        </p:nvSpPr>
        <p:spPr/>
        <p:txBody>
          <a:bodyPr/>
          <a:lstStyle/>
          <a:p>
            <a:r>
              <a:rPr lang="en-US" dirty="0">
                <a:solidFill>
                  <a:srgbClr val="FFFFFF"/>
                </a:solidFill>
              </a:rPr>
              <a:t>Anatomy of A Fall</a:t>
            </a:r>
          </a:p>
          <a:p>
            <a:r>
              <a:rPr lang="en-US" dirty="0">
                <a:solidFill>
                  <a:srgbClr val="FFFFFF"/>
                </a:solidFill>
              </a:rPr>
              <a:t>Gold / Silver Spot</a:t>
            </a:r>
          </a:p>
          <a:p>
            <a:endParaRPr lang="en-US" dirty="0">
              <a:solidFill>
                <a:srgbClr val="FFFFFF"/>
              </a:solidFill>
            </a:endParaRPr>
          </a:p>
        </p:txBody>
      </p:sp>
      <p:sp>
        <p:nvSpPr>
          <p:cNvPr id="19" name="Text Placeholder 18">
            <a:extLst>
              <a:ext uri="{FF2B5EF4-FFF2-40B4-BE49-F238E27FC236}">
                <a16:creationId xmlns:a16="http://schemas.microsoft.com/office/drawing/2014/main" id="{B414FB94-365F-87FE-65EA-270A0FBCD20A}"/>
              </a:ext>
            </a:extLst>
          </p:cNvPr>
          <p:cNvSpPr>
            <a:spLocks noGrp="1"/>
          </p:cNvSpPr>
          <p:nvPr>
            <p:ph type="body" sz="quarter" idx="27"/>
          </p:nvPr>
        </p:nvSpPr>
        <p:spPr/>
        <p:txBody>
          <a:bodyPr/>
          <a:lstStyle/>
          <a:p>
            <a:r>
              <a:rPr lang="en-US" dirty="0" err="1">
                <a:solidFill>
                  <a:srgbClr val="FFFFFF"/>
                </a:solidFill>
              </a:rPr>
              <a:t>Saltburn</a:t>
            </a:r>
            <a:endParaRPr lang="en-US" dirty="0">
              <a:solidFill>
                <a:srgbClr val="FFFFFF"/>
              </a:solidFill>
            </a:endParaRPr>
          </a:p>
          <a:p>
            <a:r>
              <a:rPr lang="en-US" dirty="0">
                <a:solidFill>
                  <a:srgbClr val="FFFFFF"/>
                </a:solidFill>
              </a:rPr>
              <a:t>Gold / Silver Spot</a:t>
            </a:r>
          </a:p>
          <a:p>
            <a:endParaRPr lang="en-US" dirty="0">
              <a:solidFill>
                <a:srgbClr val="FFFFFF"/>
              </a:solidFill>
            </a:endParaRPr>
          </a:p>
          <a:p>
            <a:endParaRPr lang="en-US" dirty="0">
              <a:solidFill>
                <a:srgbClr val="FFFFFF"/>
              </a:solidFill>
            </a:endParaRPr>
          </a:p>
        </p:txBody>
      </p:sp>
      <p:sp>
        <p:nvSpPr>
          <p:cNvPr id="10" name="Title 9">
            <a:extLst>
              <a:ext uri="{FF2B5EF4-FFF2-40B4-BE49-F238E27FC236}">
                <a16:creationId xmlns:a16="http://schemas.microsoft.com/office/drawing/2014/main" id="{46A82B63-AD33-215D-9C1E-D0566B09832B}"/>
              </a:ext>
            </a:extLst>
          </p:cNvPr>
          <p:cNvSpPr>
            <a:spLocks noGrp="1"/>
          </p:cNvSpPr>
          <p:nvPr>
            <p:ph type="title"/>
          </p:nvPr>
        </p:nvSpPr>
        <p:spPr/>
        <p:txBody>
          <a:bodyPr/>
          <a:lstStyle/>
          <a:p>
            <a:r>
              <a:rPr lang="en-US" dirty="0">
                <a:solidFill>
                  <a:srgbClr val="FFFFFF"/>
                </a:solidFill>
              </a:rPr>
              <a:t>AWARDS CONTENDERS 2024</a:t>
            </a:r>
          </a:p>
        </p:txBody>
      </p:sp>
      <p:sp>
        <p:nvSpPr>
          <p:cNvPr id="11" name="Text Placeholder 10">
            <a:extLst>
              <a:ext uri="{FF2B5EF4-FFF2-40B4-BE49-F238E27FC236}">
                <a16:creationId xmlns:a16="http://schemas.microsoft.com/office/drawing/2014/main" id="{119371AA-18A6-6487-C010-68E1CC540D43}"/>
              </a:ext>
            </a:extLst>
          </p:cNvPr>
          <p:cNvSpPr>
            <a:spLocks noGrp="1"/>
          </p:cNvSpPr>
          <p:nvPr>
            <p:ph type="body" sz="quarter" idx="12"/>
          </p:nvPr>
        </p:nvSpPr>
        <p:spPr/>
        <p:txBody>
          <a:bodyPr/>
          <a:lstStyle/>
          <a:p>
            <a:endParaRPr lang="en-US">
              <a:solidFill>
                <a:srgbClr val="FFFFFF"/>
              </a:solidFill>
            </a:endParaRPr>
          </a:p>
        </p:txBody>
      </p:sp>
      <p:pic>
        <p:nvPicPr>
          <p:cNvPr id="20" name="Picture 19">
            <a:extLst>
              <a:ext uri="{FF2B5EF4-FFF2-40B4-BE49-F238E27FC236}">
                <a16:creationId xmlns:a16="http://schemas.microsoft.com/office/drawing/2014/main" id="{B5F14156-BD06-849F-497C-14BE81B20E3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2224" y="6959163"/>
            <a:ext cx="1679509" cy="364060"/>
          </a:xfrm>
          <a:prstGeom prst="rect">
            <a:avLst/>
          </a:prstGeom>
        </p:spPr>
      </p:pic>
      <p:cxnSp>
        <p:nvCxnSpPr>
          <p:cNvPr id="21" name="Straight Connector 20">
            <a:extLst>
              <a:ext uri="{FF2B5EF4-FFF2-40B4-BE49-F238E27FC236}">
                <a16:creationId xmlns:a16="http://schemas.microsoft.com/office/drawing/2014/main" id="{5957BFBD-5E79-9D64-398B-7CD4A9ED7F54}"/>
              </a:ext>
            </a:extLst>
          </p:cNvPr>
          <p:cNvCxnSpPr>
            <a:cxnSpLocks/>
          </p:cNvCxnSpPr>
          <p:nvPr/>
        </p:nvCxnSpPr>
        <p:spPr>
          <a:xfrm>
            <a:off x="353" y="706678"/>
            <a:ext cx="4245076" cy="0"/>
          </a:xfrm>
          <a:prstGeom prst="line">
            <a:avLst/>
          </a:prstGeom>
          <a:noFill/>
          <a:ln w="19050" cap="flat" cmpd="sng" algn="ctr">
            <a:solidFill>
              <a:srgbClr val="FFFFFF"/>
            </a:solidFill>
            <a:prstDash val="solid"/>
          </a:ln>
          <a:effectLst/>
        </p:spPr>
      </p:cxnSp>
      <p:pic>
        <p:nvPicPr>
          <p:cNvPr id="1026" name="Picture 2" descr="Killers of the Flower Moon | Kew Gardens Cinemas">
            <a:extLst>
              <a:ext uri="{FF2B5EF4-FFF2-40B4-BE49-F238E27FC236}">
                <a16:creationId xmlns:a16="http://schemas.microsoft.com/office/drawing/2014/main" id="{E3807646-7E7C-2FC2-12C4-E698E36BD730}"/>
              </a:ext>
            </a:extLst>
          </p:cNvPr>
          <p:cNvPicPr>
            <a:picLocks noGrp="1" noChangeAspect="1" noChangeArrowheads="1"/>
          </p:cNvPicPr>
          <p:nvPr>
            <p:ph type="pic" sz="quarter" idx="14"/>
          </p:nvPr>
        </p:nvPicPr>
        <p:blipFill>
          <a:blip r:embed="rId3" cstate="print">
            <a:extLst>
              <a:ext uri="{28A0092B-C50C-407E-A947-70E740481C1C}">
                <a14:useLocalDpi xmlns:a14="http://schemas.microsoft.com/office/drawing/2010/main" val="0"/>
              </a:ext>
            </a:extLst>
          </a:blip>
          <a:srcRect t="525" b="525"/>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Emerald Fennell's 'Saltburn' to Open London Film Fest - Variety">
            <a:extLst>
              <a:ext uri="{FF2B5EF4-FFF2-40B4-BE49-F238E27FC236}">
                <a16:creationId xmlns:a16="http://schemas.microsoft.com/office/drawing/2014/main" id="{63009DBC-5E0A-CCF4-0FDA-690C6633DE74}"/>
              </a:ext>
            </a:extLst>
          </p:cNvPr>
          <p:cNvPicPr>
            <a:picLocks noGrp="1" noChangeAspect="1" noChangeArrowheads="1"/>
          </p:cNvPicPr>
          <p:nvPr>
            <p:ph type="pic" sz="quarter" idx="24"/>
          </p:nvPr>
        </p:nvPicPr>
        <p:blipFill>
          <a:blip r:embed="rId4">
            <a:extLst>
              <a:ext uri="{28A0092B-C50C-407E-A947-70E740481C1C}">
                <a14:useLocalDpi xmlns:a14="http://schemas.microsoft.com/office/drawing/2010/main" val="0"/>
              </a:ext>
            </a:extLst>
          </a:blip>
          <a:srcRect l="31039" r="31039"/>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annes 2023: Anatomy of a Fall, Fallen Leaves | Filmmaker Magazine">
            <a:extLst>
              <a:ext uri="{FF2B5EF4-FFF2-40B4-BE49-F238E27FC236}">
                <a16:creationId xmlns:a16="http://schemas.microsoft.com/office/drawing/2014/main" id="{383BCD93-3192-9C03-0977-E3693732FEAC}"/>
              </a:ext>
            </a:extLst>
          </p:cNvPr>
          <p:cNvPicPr>
            <a:picLocks noGrp="1" noChangeAspect="1" noChangeArrowheads="1"/>
          </p:cNvPicPr>
          <p:nvPr>
            <p:ph type="pic" sz="quarter" idx="23"/>
          </p:nvPr>
        </p:nvPicPr>
        <p:blipFill>
          <a:blip r:embed="rId5">
            <a:extLst>
              <a:ext uri="{28A0092B-C50C-407E-A947-70E740481C1C}">
                <a14:useLocalDpi xmlns:a14="http://schemas.microsoft.com/office/drawing/2010/main" val="0"/>
              </a:ext>
            </a:extLst>
          </a:blip>
          <a:srcRect l="31025" r="31025"/>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ay December' review by Matt Neglia • Letterboxd">
            <a:extLst>
              <a:ext uri="{FF2B5EF4-FFF2-40B4-BE49-F238E27FC236}">
                <a16:creationId xmlns:a16="http://schemas.microsoft.com/office/drawing/2014/main" id="{2399C7A9-CD19-AE62-869D-D813FC3D5AC7}"/>
              </a:ext>
            </a:extLst>
          </p:cNvPr>
          <p:cNvPicPr>
            <a:picLocks noGrp="1" noChangeAspect="1" noChangeArrowheads="1"/>
          </p:cNvPicPr>
          <p:nvPr>
            <p:ph type="pic" sz="quarter" idx="22"/>
          </p:nvPr>
        </p:nvPicPr>
        <p:blipFill>
          <a:blip r:embed="rId6">
            <a:extLst>
              <a:ext uri="{28A0092B-C50C-407E-A947-70E740481C1C}">
                <a14:useLocalDpi xmlns:a14="http://schemas.microsoft.com/office/drawing/2010/main" val="0"/>
              </a:ext>
            </a:extLst>
          </a:blip>
          <a:srcRect t="414" b="414"/>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7017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517AFC7-1F88-4F1D-80C6-0CBC4A2E8871}"/>
    </a:ext>
  </a:extLst>
</a:theme>
</file>

<file path=ppt/theme/theme11.xml><?xml version="1.0" encoding="utf-8"?>
<a:theme xmlns:a="http://schemas.openxmlformats.org/drawingml/2006/main" name="1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069CD9C-5FBB-48B5-913D-843E8FB70E04}"/>
    </a:ext>
  </a:extLst>
</a:theme>
</file>

<file path=ppt/theme/theme12.xml><?xml version="1.0" encoding="utf-8"?>
<a:theme xmlns:a="http://schemas.openxmlformats.org/drawingml/2006/main" name="2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1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GENDA SLID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3.xml><?xml version="1.0" encoding="utf-8"?>
<a:theme xmlns:a="http://schemas.openxmlformats.org/drawingml/2006/main" name="SECTION DIVIDER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4.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5.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6.xml><?xml version="1.0" encoding="utf-8"?>
<a:theme xmlns:a="http://schemas.openxmlformats.org/drawingml/2006/main" name="EXTRA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7.xml><?xml version="1.0" encoding="utf-8"?>
<a:theme xmlns:a="http://schemas.openxmlformats.org/drawingml/2006/main" name="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8.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9.xml><?xml version="1.0" encoding="utf-8"?>
<a:theme xmlns:a="http://schemas.openxmlformats.org/drawingml/2006/main" name="ICON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ppt/theme/themeOverride1.xml><?xml version="1.0" encoding="utf-8"?>
<a:themeOverride xmlns:a="http://schemas.openxmlformats.org/drawingml/2006/main">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502</Words>
  <Application>Microsoft Macintosh PowerPoint</Application>
  <PresentationFormat>Custom</PresentationFormat>
  <Paragraphs>98</Paragraphs>
  <Slides>14</Slides>
  <Notes>2</Notes>
  <HiddenSlides>0</HiddenSlides>
  <MMClips>0</MMClips>
  <ScaleCrop>false</ScaleCrop>
  <HeadingPairs>
    <vt:vector size="8" baseType="variant">
      <vt:variant>
        <vt:lpstr>Fonts Used</vt:lpstr>
      </vt:variant>
      <vt:variant>
        <vt:i4>8</vt:i4>
      </vt:variant>
      <vt:variant>
        <vt:lpstr>Theme</vt:lpstr>
      </vt:variant>
      <vt:variant>
        <vt:i4>12</vt:i4>
      </vt:variant>
      <vt:variant>
        <vt:lpstr>Embedded OLE Servers</vt:lpstr>
      </vt:variant>
      <vt:variant>
        <vt:i4>1</vt:i4>
      </vt:variant>
      <vt:variant>
        <vt:lpstr>Slide Titles</vt:lpstr>
      </vt:variant>
      <vt:variant>
        <vt:i4>14</vt:i4>
      </vt:variant>
    </vt:vector>
  </HeadingPairs>
  <TitlesOfParts>
    <vt:vector size="35" baseType="lpstr">
      <vt:lpstr>.AppleSystemUIFont</vt:lpstr>
      <vt:lpstr>Arial</vt:lpstr>
      <vt:lpstr>Century Gothic</vt:lpstr>
      <vt:lpstr>Impact</vt:lpstr>
      <vt:lpstr>Roboto</vt:lpstr>
      <vt:lpstr>Roboto-Medium</vt:lpstr>
      <vt:lpstr>STIXGeneral-Regular</vt:lpstr>
      <vt:lpstr>Wingdings</vt:lpstr>
      <vt:lpstr>INTRO SLIDES</vt:lpstr>
      <vt:lpstr>AGENDA SLIDE</vt:lpstr>
      <vt:lpstr>SECTION DIVIDERS</vt:lpstr>
      <vt:lpstr>STATEMENT SLIDES</vt:lpstr>
      <vt:lpstr>COPY SLIDES</vt:lpstr>
      <vt:lpstr>EXTRA SLIDES</vt:lpstr>
      <vt:lpstr>THANK YOU SLIDES</vt:lpstr>
      <vt:lpstr>VIDEO SLIDES</vt:lpstr>
      <vt:lpstr>ICONS</vt:lpstr>
      <vt:lpstr>Image Slides</vt:lpstr>
      <vt:lpstr>1_Statement Slides</vt:lpstr>
      <vt:lpstr>2_STATEMENT SLIDES</vt:lpstr>
      <vt:lpstr>think-cell Slide</vt:lpstr>
      <vt:lpstr>PowerPoint Presentation</vt:lpstr>
      <vt:lpstr>PowerPoint Presentation</vt:lpstr>
      <vt:lpstr>AWARDS SEASON 2024</vt:lpstr>
      <vt:lpstr>A SUMMARY OF THE OPPORTUNITY</vt:lpstr>
      <vt:lpstr>PowerPoint Presentation</vt:lpstr>
      <vt:lpstr>A LOOK AHEAD TO AWARDS SEASON</vt:lpstr>
      <vt:lpstr>A LOOK AHEAD TO AWARDS SEASON</vt:lpstr>
      <vt:lpstr>REACHING AN UPMARKET CINEMA AUDIENCE</vt:lpstr>
      <vt:lpstr>AWARDS CONTENDERS 2024</vt:lpstr>
      <vt:lpstr>AWARDS CONTENDERS 2024</vt:lpstr>
      <vt:lpstr>AWARDS CONTENDERS 2024</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23-08-25T10:23:00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